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84" r:id="rId3"/>
  </p:sldMasterIdLst>
  <p:notesMasterIdLst>
    <p:notesMasterId r:id="rId15"/>
  </p:notesMasterIdLst>
  <p:handoutMasterIdLst>
    <p:handoutMasterId r:id="rId16"/>
  </p:handoutMasterIdLst>
  <p:sldIdLst>
    <p:sldId id="352" r:id="rId4"/>
    <p:sldId id="350" r:id="rId5"/>
    <p:sldId id="384" r:id="rId6"/>
    <p:sldId id="371" r:id="rId7"/>
    <p:sldId id="372" r:id="rId8"/>
    <p:sldId id="386" r:id="rId9"/>
    <p:sldId id="387" r:id="rId10"/>
    <p:sldId id="388" r:id="rId11"/>
    <p:sldId id="389" r:id="rId12"/>
    <p:sldId id="390" r:id="rId13"/>
    <p:sldId id="385" r:id="rId14"/>
  </p:sldIdLst>
  <p:sldSz cx="9144000" cy="5143500" type="screen16x9"/>
  <p:notesSz cx="6877050" cy="96567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3C"/>
    <a:srgbClr val="D6E03E"/>
    <a:srgbClr val="EB7F2E"/>
    <a:srgbClr val="4396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00" autoAdjust="0"/>
    <p:restoredTop sz="96510" autoAdjust="0"/>
  </p:normalViewPr>
  <p:slideViewPr>
    <p:cSldViewPr>
      <p:cViewPr>
        <p:scale>
          <a:sx n="110" d="100"/>
          <a:sy n="110" d="100"/>
        </p:scale>
        <p:origin x="-954" y="-252"/>
      </p:cViewPr>
      <p:guideLst>
        <p:guide orient="horz" pos="1257"/>
        <p:guide pos="15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03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9738" cy="4826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95725" y="0"/>
            <a:ext cx="2979738" cy="4826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38EE10-7067-4050-B3DE-4D10654D411A}" type="datetimeFigureOut">
              <a:rPr lang="ru-RU" smtClean="0"/>
              <a:t>30.07.201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172575"/>
            <a:ext cx="2979738" cy="482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95725" y="9172575"/>
            <a:ext cx="2979738" cy="4826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5EBF51-5FCF-46B2-9E71-794D617B3DC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34445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80055" cy="482838"/>
          </a:xfrm>
          <a:prstGeom prst="rect">
            <a:avLst/>
          </a:prstGeom>
        </p:spPr>
        <p:txBody>
          <a:bodyPr vert="horz" lIns="91045" tIns="45523" rIns="91045" bIns="4552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95406" y="1"/>
            <a:ext cx="2980055" cy="482838"/>
          </a:xfrm>
          <a:prstGeom prst="rect">
            <a:avLst/>
          </a:prstGeom>
        </p:spPr>
        <p:txBody>
          <a:bodyPr vert="horz" lIns="91045" tIns="45523" rIns="91045" bIns="45523" rtlCol="0"/>
          <a:lstStyle>
            <a:lvl1pPr algn="r">
              <a:defRPr sz="1200"/>
            </a:lvl1pPr>
          </a:lstStyle>
          <a:p>
            <a:fld id="{C8849F63-8892-48E7-8196-7675B983A1FE}" type="datetimeFigureOut">
              <a:rPr lang="ru-RU" smtClean="0"/>
              <a:t>30.07.201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19075" y="723900"/>
            <a:ext cx="6438900" cy="3621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45" tIns="45523" rIns="91045" bIns="45523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7705" y="4586964"/>
            <a:ext cx="5501640" cy="4345543"/>
          </a:xfrm>
          <a:prstGeom prst="rect">
            <a:avLst/>
          </a:prstGeom>
        </p:spPr>
        <p:txBody>
          <a:bodyPr vert="horz" lIns="91045" tIns="45523" rIns="91045" bIns="45523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172250"/>
            <a:ext cx="2980055" cy="482838"/>
          </a:xfrm>
          <a:prstGeom prst="rect">
            <a:avLst/>
          </a:prstGeom>
        </p:spPr>
        <p:txBody>
          <a:bodyPr vert="horz" lIns="91045" tIns="45523" rIns="91045" bIns="4552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95406" y="9172250"/>
            <a:ext cx="2980055" cy="482838"/>
          </a:xfrm>
          <a:prstGeom prst="rect">
            <a:avLst/>
          </a:prstGeom>
        </p:spPr>
        <p:txBody>
          <a:bodyPr vert="horz" lIns="91045" tIns="45523" rIns="91045" bIns="45523" rtlCol="0" anchor="b"/>
          <a:lstStyle>
            <a:lvl1pPr algn="r">
              <a:defRPr sz="1200"/>
            </a:lvl1pPr>
          </a:lstStyle>
          <a:p>
            <a:fld id="{E34DAAD2-9F42-4DC4-A9D2-BA133B92F42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672385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4DAAD2-9F42-4DC4-A9D2-BA133B92F424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1151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4DAAD2-9F42-4DC4-A9D2-BA133B92F424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1151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4DAAD2-9F42-4DC4-A9D2-BA133B92F424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1151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22250" y="725488"/>
            <a:ext cx="6432550" cy="3619500"/>
          </a:xfrm>
          <a:ln/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smtClean="0"/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0011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0011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0011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0011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0011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9001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9001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9001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9001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CE2EBCA-E246-4DB2-9435-CF9CBF9B8E93}" type="slidenum">
              <a:rPr lang="ru-RU" altLang="ru-RU">
                <a:solidFill>
                  <a:prstClr val="black"/>
                </a:solidFill>
              </a:rPr>
              <a:pPr eaLnBrk="1" hangingPunct="1"/>
              <a:t>4</a:t>
            </a:fld>
            <a:endParaRPr lang="ru-RU" alt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22250" y="725488"/>
            <a:ext cx="6432550" cy="3619500"/>
          </a:xfrm>
          <a:ln/>
        </p:spPr>
      </p:sp>
      <p:sp>
        <p:nvSpPr>
          <p:cNvPr id="3379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smtClean="0"/>
          </a:p>
        </p:txBody>
      </p:sp>
      <p:sp>
        <p:nvSpPr>
          <p:cNvPr id="337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0011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0011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0011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0011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0011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defTabSz="9001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defTabSz="9001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defTabSz="9001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defTabSz="9001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BF2CCDC0-8FEE-4D08-93B1-2FEEFA03A639}" type="slidenum">
              <a:rPr lang="ru-RU" altLang="ru-RU">
                <a:solidFill>
                  <a:prstClr val="black"/>
                </a:solidFill>
              </a:rPr>
              <a:pPr eaLnBrk="1" hangingPunct="1"/>
              <a:t>5</a:t>
            </a:fld>
            <a:endParaRPr lang="ru-RU" alt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4DAAD2-9F42-4DC4-A9D2-BA133B92F424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1151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4DAAD2-9F42-4DC4-A9D2-BA133B92F424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1151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4DAAD2-9F42-4DC4-A9D2-BA133B92F424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1151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4DAAD2-9F42-4DC4-A9D2-BA133B92F424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1151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4DAAD2-9F42-4DC4-A9D2-BA133B92F424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1151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8.xml"/><Relationship Id="rId7" Type="http://schemas.openxmlformats.org/officeDocument/2006/relationships/oleObject" Target="../embeddings/oleObject4.bin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2.png"/><Relationship Id="rId5" Type="http://schemas.openxmlformats.org/officeDocument/2006/relationships/tags" Target="../tags/tag10.xml"/><Relationship Id="rId10" Type="http://schemas.openxmlformats.org/officeDocument/2006/relationships/oleObject" Target="../embeddings/oleObject6.bin"/><Relationship Id="rId4" Type="http://schemas.openxmlformats.org/officeDocument/2006/relationships/tags" Target="../tags/tag9.xml"/><Relationship Id="rId9" Type="http://schemas.openxmlformats.org/officeDocument/2006/relationships/image" Target="../media/image1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12.xml"/><Relationship Id="rId7" Type="http://schemas.openxmlformats.org/officeDocument/2006/relationships/oleObject" Target="../embeddings/oleObject7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2.png"/><Relationship Id="rId5" Type="http://schemas.openxmlformats.org/officeDocument/2006/relationships/tags" Target="../tags/tag14.xml"/><Relationship Id="rId10" Type="http://schemas.openxmlformats.org/officeDocument/2006/relationships/oleObject" Target="../embeddings/oleObject9.bin"/><Relationship Id="rId4" Type="http://schemas.openxmlformats.org/officeDocument/2006/relationships/tags" Target="../tags/tag13.xml"/><Relationship Id="rId9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16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2.png"/><Relationship Id="rId5" Type="http://schemas.openxmlformats.org/officeDocument/2006/relationships/tags" Target="../tags/tag18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7.xml"/><Relationship Id="rId9" Type="http://schemas.openxmlformats.org/officeDocument/2006/relationships/image" Target="../media/image1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20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2.png"/><Relationship Id="rId5" Type="http://schemas.openxmlformats.org/officeDocument/2006/relationships/tags" Target="../tags/tag22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21.xml"/><Relationship Id="rId9" Type="http://schemas.openxmlformats.org/officeDocument/2006/relationships/image" Target="../media/image1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24.xml"/><Relationship Id="rId7" Type="http://schemas.openxmlformats.org/officeDocument/2006/relationships/oleObject" Target="../embeddings/oleObject16.bin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2.png"/><Relationship Id="rId5" Type="http://schemas.openxmlformats.org/officeDocument/2006/relationships/tags" Target="../tags/tag26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25.xml"/><Relationship Id="rId9" Type="http://schemas.openxmlformats.org/officeDocument/2006/relationships/image" Target="../media/image1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28.xml"/><Relationship Id="rId7" Type="http://schemas.openxmlformats.org/officeDocument/2006/relationships/oleObject" Target="../embeddings/oleObject19.bin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2.png"/><Relationship Id="rId5" Type="http://schemas.openxmlformats.org/officeDocument/2006/relationships/tags" Target="../tags/tag30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29.xml"/><Relationship Id="rId9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32.xml"/><Relationship Id="rId7" Type="http://schemas.openxmlformats.org/officeDocument/2006/relationships/oleObject" Target="../embeddings/oleObject22.bin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2.png"/><Relationship Id="rId5" Type="http://schemas.openxmlformats.org/officeDocument/2006/relationships/tags" Target="../tags/tag34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33.xml"/><Relationship Id="rId9" Type="http://schemas.openxmlformats.org/officeDocument/2006/relationships/image" Target="../media/image1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36.xml"/><Relationship Id="rId7" Type="http://schemas.openxmlformats.org/officeDocument/2006/relationships/oleObject" Target="../embeddings/oleObject25.bin"/><Relationship Id="rId2" Type="http://schemas.openxmlformats.org/officeDocument/2006/relationships/tags" Target="../tags/tag35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2.png"/><Relationship Id="rId5" Type="http://schemas.openxmlformats.org/officeDocument/2006/relationships/tags" Target="../tags/tag38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37.xml"/><Relationship Id="rId9" Type="http://schemas.openxmlformats.org/officeDocument/2006/relationships/image" Target="../media/image1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tags" Target="../tags/tag40.xml"/><Relationship Id="rId7" Type="http://schemas.openxmlformats.org/officeDocument/2006/relationships/oleObject" Target="../embeddings/oleObject28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2.png"/><Relationship Id="rId5" Type="http://schemas.openxmlformats.org/officeDocument/2006/relationships/tags" Target="../tags/tag42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41.xml"/><Relationship Id="rId9" Type="http://schemas.openxmlformats.org/officeDocument/2006/relationships/image" Target="../media/image1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tags" Target="../tags/tag44.xml"/><Relationship Id="rId7" Type="http://schemas.openxmlformats.org/officeDocument/2006/relationships/oleObject" Target="../embeddings/oleObject31.bin"/><Relationship Id="rId2" Type="http://schemas.openxmlformats.org/officeDocument/2006/relationships/tags" Target="../tags/tag43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2.png"/><Relationship Id="rId5" Type="http://schemas.openxmlformats.org/officeDocument/2006/relationships/tags" Target="../tags/tag46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45.xml"/><Relationship Id="rId9" Type="http://schemas.openxmlformats.org/officeDocument/2006/relationships/image" Target="../media/image1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tags" Target="../tags/tag48.xml"/><Relationship Id="rId7" Type="http://schemas.openxmlformats.org/officeDocument/2006/relationships/oleObject" Target="../embeddings/oleObject34.bin"/><Relationship Id="rId2" Type="http://schemas.openxmlformats.org/officeDocument/2006/relationships/tags" Target="../tags/tag47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2.png"/><Relationship Id="rId5" Type="http://schemas.openxmlformats.org/officeDocument/2006/relationships/tags" Target="../tags/tag50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49.xml"/><Relationship Id="rId9" Type="http://schemas.openxmlformats.org/officeDocument/2006/relationships/image" Target="../media/image1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.bin"/><Relationship Id="rId3" Type="http://schemas.openxmlformats.org/officeDocument/2006/relationships/tags" Target="../tags/tag52.xml"/><Relationship Id="rId7" Type="http://schemas.openxmlformats.org/officeDocument/2006/relationships/oleObject" Target="../embeddings/oleObject37.bin"/><Relationship Id="rId2" Type="http://schemas.openxmlformats.org/officeDocument/2006/relationships/tags" Target="../tags/tag51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2.png"/><Relationship Id="rId5" Type="http://schemas.openxmlformats.org/officeDocument/2006/relationships/tags" Target="../tags/tag54.xml"/><Relationship Id="rId10" Type="http://schemas.openxmlformats.org/officeDocument/2006/relationships/oleObject" Target="../embeddings/oleObject39.bin"/><Relationship Id="rId4" Type="http://schemas.openxmlformats.org/officeDocument/2006/relationships/tags" Target="../tags/tag53.xml"/><Relationship Id="rId9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3A007-FF92-4D16-9CF2-F2C7035008AA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B6384-A208-4E9C-9824-46D9CABB684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75281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A93210-8B19-4B92-A8B8-4DA0F0FF23DB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B6384-A208-4E9C-9824-46D9CABB684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40599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98138B-ECAC-451F-BB26-0A7A3195054A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B6384-A208-4E9C-9824-46D9CABB684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68132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9954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0" y="4869656"/>
            <a:ext cx="1043608" cy="273844"/>
          </a:xfrm>
        </p:spPr>
        <p:txBody>
          <a:bodyPr/>
          <a:lstStyle/>
          <a:p>
            <a:fld id="{7B83BE7C-24D5-43DA-AF63-C8936410C043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956375" y="4869656"/>
            <a:ext cx="1186431" cy="273844"/>
          </a:xfrm>
        </p:spPr>
        <p:txBody>
          <a:bodyPr/>
          <a:lstStyle/>
          <a:p>
            <a:fld id="{5B7E7DCD-C0EE-423A-BF93-9D3D62B9707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7301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B983F-CA93-4229-854B-F055056DB8E6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762D8-67BA-4D88-8CC3-99F2ECD86BE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64587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2535A-43EE-4562-94CB-80DB9A2DF24D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762D8-67BA-4D88-8CC3-99F2ECD86BE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7921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7512F-B018-4D77-84A4-5310D476D321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762D8-67BA-4D88-8CC3-99F2ECD86BE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76041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A3BFE8-45E4-4876-AAAA-6255CB062107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762D8-67BA-4D88-8CC3-99F2ECD86BE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709111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3DC35-A390-4A71-A82C-D8F275A4194D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762D8-67BA-4D88-8CC3-99F2ECD86BE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00250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27788-08B5-448E-A978-3B4282FFCD7E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762D8-67BA-4D88-8CC3-99F2ECD86BE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43022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A3DE16-443C-4AC2-8984-564C8DC3882D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762D8-67BA-4D88-8CC3-99F2ECD86BE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68295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244D2-140B-4B00-A6F9-ED22642F59E9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B6384-A208-4E9C-9824-46D9CABB684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59984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BB65A-04DA-4060-9018-F28DE903045E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762D8-67BA-4D88-8CC3-99F2ECD86BE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286205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16E1B-205C-4608-ABA3-A1F78C17F7D1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762D8-67BA-4D88-8CC3-99F2ECD86BE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15552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05C953-41BC-42C3-B331-067CC8A904E9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762D8-67BA-4D88-8CC3-99F2ECD86BE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57706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9CD315-2A9F-4AA9-9575-14F877A7949A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2762D8-67BA-4D88-8CC3-99F2ECD86BE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56680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8588" y="791766"/>
            <a:ext cx="8332787" cy="4331494"/>
            <a:chOff x="81" y="665"/>
            <a:chExt cx="5249" cy="3638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20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600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3962"/>
              <a:ext cx="5249" cy="34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 fontAlgn="base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7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1" y="2048739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3207217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9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9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1"/>
          <p:cNvGraphicFramePr>
            <a:graphicFrameLocks noChangeAspect="1"/>
          </p:cNvGraphicFramePr>
          <p:nvPr/>
        </p:nvGraphicFramePr>
        <p:xfrm>
          <a:off x="0" y="628650"/>
          <a:ext cx="9144000" cy="57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0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28650"/>
                        <a:ext cx="9144000" cy="57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81038"/>
            <a:ext cx="9144000" cy="54769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600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2" name="Object 24"/>
          <p:cNvGraphicFramePr>
            <a:graphicFrameLocks noChangeAspect="1"/>
          </p:cNvGraphicFramePr>
          <p:nvPr/>
        </p:nvGraphicFramePr>
        <p:xfrm>
          <a:off x="7185025" y="114300"/>
          <a:ext cx="1854200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14300"/>
                        <a:ext cx="1854200" cy="371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1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511E66-FDB3-4146-BC57-72319132AE40}" type="datetime1">
              <a:rPr lang="ru-RU">
                <a:solidFill>
                  <a:srgbClr val="000000"/>
                </a:solidFill>
              </a:rPr>
              <a:pPr>
                <a:defRPr/>
              </a:pPr>
              <a:t>30.07.2014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D2D4C052-B9A9-40CF-873E-6186122E342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04186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8588" y="791766"/>
            <a:ext cx="8332787" cy="4331494"/>
            <a:chOff x="81" y="665"/>
            <a:chExt cx="5249" cy="3638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20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600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3962"/>
              <a:ext cx="5249" cy="34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 fontAlgn="base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7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1" y="2048739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3207217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9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3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1"/>
          <p:cNvGraphicFramePr>
            <a:graphicFrameLocks noChangeAspect="1"/>
          </p:cNvGraphicFramePr>
          <p:nvPr/>
        </p:nvGraphicFramePr>
        <p:xfrm>
          <a:off x="0" y="628650"/>
          <a:ext cx="9144000" cy="57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4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28650"/>
                        <a:ext cx="9144000" cy="57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81038"/>
            <a:ext cx="9144000" cy="54769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600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2" name="Object 24"/>
          <p:cNvGraphicFramePr>
            <a:graphicFrameLocks noChangeAspect="1"/>
          </p:cNvGraphicFramePr>
          <p:nvPr/>
        </p:nvGraphicFramePr>
        <p:xfrm>
          <a:off x="7185025" y="114300"/>
          <a:ext cx="1854200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5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14300"/>
                        <a:ext cx="1854200" cy="371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EF5323-5D30-4A87-A8CB-3E0CFC583D7D}" type="datetime1">
              <a:rPr lang="ru-RU">
                <a:solidFill>
                  <a:srgbClr val="000000"/>
                </a:solidFill>
              </a:rPr>
              <a:pPr>
                <a:defRPr/>
              </a:pPr>
              <a:t>30.07.2014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A1061059-3725-4FD0-8E4D-8B7CC83BEF2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51531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8588" y="791766"/>
            <a:ext cx="8332787" cy="4331494"/>
            <a:chOff x="81" y="665"/>
            <a:chExt cx="5249" cy="3638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20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600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3962"/>
              <a:ext cx="5249" cy="34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 fontAlgn="base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7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1" y="2048739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3207217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9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7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1"/>
          <p:cNvGraphicFramePr>
            <a:graphicFrameLocks noChangeAspect="1"/>
          </p:cNvGraphicFramePr>
          <p:nvPr/>
        </p:nvGraphicFramePr>
        <p:xfrm>
          <a:off x="0" y="628650"/>
          <a:ext cx="9144000" cy="57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8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28650"/>
                        <a:ext cx="9144000" cy="57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81038"/>
            <a:ext cx="9144000" cy="54769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600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2" name="Object 24"/>
          <p:cNvGraphicFramePr>
            <a:graphicFrameLocks noChangeAspect="1"/>
          </p:cNvGraphicFramePr>
          <p:nvPr/>
        </p:nvGraphicFramePr>
        <p:xfrm>
          <a:off x="7185025" y="114300"/>
          <a:ext cx="1854200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9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14300"/>
                        <a:ext cx="1854200" cy="371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97398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0FE267-8920-4E92-8FEE-5CAD5F1E3ACB}" type="datetime1">
              <a:rPr lang="ru-RU">
                <a:solidFill>
                  <a:srgbClr val="000000"/>
                </a:solidFill>
              </a:rPr>
              <a:pPr>
                <a:defRPr/>
              </a:pPr>
              <a:t>30.07.2014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E268B496-7F6F-4F59-9D70-1AFEF9E5847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10371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McK Slide Elements"/>
          <p:cNvGrpSpPr>
            <a:grpSpLocks/>
          </p:cNvGrpSpPr>
          <p:nvPr/>
        </p:nvGrpSpPr>
        <p:grpSpPr bwMode="auto">
          <a:xfrm>
            <a:off x="128588" y="791766"/>
            <a:ext cx="8332787" cy="4331494"/>
            <a:chOff x="81" y="665"/>
            <a:chExt cx="5249" cy="3638"/>
          </a:xfrm>
        </p:grpSpPr>
        <p:sp>
          <p:nvSpPr>
            <p:cNvPr id="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20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600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3962"/>
              <a:ext cx="5249" cy="34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 fontAlgn="base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1" y="2048739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3207217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10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21"/>
          <p:cNvGraphicFramePr>
            <a:graphicFrameLocks noChangeAspect="1"/>
          </p:cNvGraphicFramePr>
          <p:nvPr/>
        </p:nvGraphicFramePr>
        <p:xfrm>
          <a:off x="0" y="628650"/>
          <a:ext cx="9144000" cy="57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2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28650"/>
                        <a:ext cx="9144000" cy="57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81038"/>
            <a:ext cx="9144000" cy="54769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600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3" name="Object 24"/>
          <p:cNvGraphicFramePr>
            <a:graphicFrameLocks noChangeAspect="1"/>
          </p:cNvGraphicFramePr>
          <p:nvPr/>
        </p:nvGraphicFramePr>
        <p:xfrm>
          <a:off x="7185025" y="114300"/>
          <a:ext cx="1854200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3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14300"/>
                        <a:ext cx="1854200" cy="371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50838" y="951310"/>
            <a:ext cx="4254500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7739" y="951310"/>
            <a:ext cx="4256087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2C6201-AA15-4704-B5A4-B22B5C024C05}" type="datetime1">
              <a:rPr lang="ru-RU">
                <a:solidFill>
                  <a:srgbClr val="000000"/>
                </a:solidFill>
              </a:rPr>
              <a:pPr>
                <a:defRPr/>
              </a:pPr>
              <a:t>30.07.2014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6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15743F0F-447B-4158-9C79-3BCFE9EBBFA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99983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McK Slide Elements"/>
          <p:cNvGrpSpPr>
            <a:grpSpLocks/>
          </p:cNvGrpSpPr>
          <p:nvPr/>
        </p:nvGrpSpPr>
        <p:grpSpPr bwMode="auto">
          <a:xfrm>
            <a:off x="128588" y="791766"/>
            <a:ext cx="8332787" cy="4331494"/>
            <a:chOff x="81" y="665"/>
            <a:chExt cx="5249" cy="3638"/>
          </a:xfrm>
        </p:grpSpPr>
        <p:sp>
          <p:nvSpPr>
            <p:cNvPr id="8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20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600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9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3962"/>
              <a:ext cx="5249" cy="34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 fontAlgn="base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10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1" y="2048739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11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3207217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12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5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21"/>
          <p:cNvGraphicFramePr>
            <a:graphicFrameLocks noChangeAspect="1"/>
          </p:cNvGraphicFramePr>
          <p:nvPr/>
        </p:nvGraphicFramePr>
        <p:xfrm>
          <a:off x="0" y="628650"/>
          <a:ext cx="9144000" cy="57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6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28650"/>
                        <a:ext cx="9144000" cy="57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81038"/>
            <a:ext cx="9144000" cy="54769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600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5" name="Object 24"/>
          <p:cNvGraphicFramePr>
            <a:graphicFrameLocks noChangeAspect="1"/>
          </p:cNvGraphicFramePr>
          <p:nvPr/>
        </p:nvGraphicFramePr>
        <p:xfrm>
          <a:off x="7185025" y="114300"/>
          <a:ext cx="1854200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7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14300"/>
                        <a:ext cx="1854200" cy="371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61825"/>
            <a:ext cx="4040188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261825"/>
            <a:ext cx="404177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54E1BF-70FA-4E45-B49B-718C4103F5CA}" type="datetime1">
              <a:rPr lang="ru-RU">
                <a:solidFill>
                  <a:srgbClr val="000000"/>
                </a:solidFill>
              </a:rPr>
              <a:pPr>
                <a:defRPr/>
              </a:pPr>
              <a:t>30.07.2014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7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8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65CEE7D6-2A12-4DD4-81FA-F362D582F1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59819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8588" y="791766"/>
            <a:ext cx="8332787" cy="4331494"/>
            <a:chOff x="81" y="665"/>
            <a:chExt cx="5249" cy="3638"/>
          </a:xfrm>
        </p:grpSpPr>
        <p:sp>
          <p:nvSpPr>
            <p:cNvPr id="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20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600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3962"/>
              <a:ext cx="5249" cy="34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 fontAlgn="base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6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1" y="2048739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3207217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8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9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21"/>
          <p:cNvGraphicFramePr>
            <a:graphicFrameLocks noChangeAspect="1"/>
          </p:cNvGraphicFramePr>
          <p:nvPr/>
        </p:nvGraphicFramePr>
        <p:xfrm>
          <a:off x="0" y="628650"/>
          <a:ext cx="9144000" cy="57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0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28650"/>
                        <a:ext cx="9144000" cy="57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81038"/>
            <a:ext cx="9144000" cy="54769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600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1" name="Object 24"/>
          <p:cNvGraphicFramePr>
            <a:graphicFrameLocks noChangeAspect="1"/>
          </p:cNvGraphicFramePr>
          <p:nvPr/>
        </p:nvGraphicFramePr>
        <p:xfrm>
          <a:off x="7185025" y="114300"/>
          <a:ext cx="1854200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1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14300"/>
                        <a:ext cx="1854200" cy="371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2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99BED3-601F-4B70-8C30-C96F1B225AC3}" type="datetime1">
              <a:rPr lang="ru-RU">
                <a:solidFill>
                  <a:srgbClr val="000000"/>
                </a:solidFill>
              </a:rPr>
              <a:pPr>
                <a:defRPr/>
              </a:pPr>
              <a:t>30.07.2014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3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4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8DFE4441-54E5-49DF-97AD-2AF0AD4C440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93320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E7FD7-CE25-4369-B156-120FB6DB9E01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B6384-A208-4E9C-9824-46D9CABB684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70240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8588" y="791766"/>
            <a:ext cx="8332787" cy="4331494"/>
            <a:chOff x="81" y="665"/>
            <a:chExt cx="5249" cy="3638"/>
          </a:xfrm>
        </p:grpSpPr>
        <p:sp>
          <p:nvSpPr>
            <p:cNvPr id="3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20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600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4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3962"/>
              <a:ext cx="5249" cy="34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 fontAlgn="base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5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1" y="2048739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3207217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7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3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21"/>
          <p:cNvGraphicFramePr>
            <a:graphicFrameLocks noChangeAspect="1"/>
          </p:cNvGraphicFramePr>
          <p:nvPr/>
        </p:nvGraphicFramePr>
        <p:xfrm>
          <a:off x="0" y="628650"/>
          <a:ext cx="9144000" cy="57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4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28650"/>
                        <a:ext cx="9144000" cy="57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81038"/>
            <a:ext cx="9144000" cy="54769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600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0" name="Object 24"/>
          <p:cNvGraphicFramePr>
            <a:graphicFrameLocks noChangeAspect="1"/>
          </p:cNvGraphicFramePr>
          <p:nvPr/>
        </p:nvGraphicFramePr>
        <p:xfrm>
          <a:off x="7185025" y="114300"/>
          <a:ext cx="1854200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5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14300"/>
                        <a:ext cx="1854200" cy="371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D74576-0446-439D-B468-64DB991656B9}" type="datetime1">
              <a:rPr lang="ru-RU">
                <a:solidFill>
                  <a:srgbClr val="000000"/>
                </a:solidFill>
              </a:rPr>
              <a:pPr>
                <a:defRPr/>
              </a:pPr>
              <a:t>30.07.2014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2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C8897740-4FA2-401D-ABC7-FBC523E427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01419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McK Slide Elements"/>
          <p:cNvGrpSpPr>
            <a:grpSpLocks/>
          </p:cNvGrpSpPr>
          <p:nvPr/>
        </p:nvGrpSpPr>
        <p:grpSpPr bwMode="auto">
          <a:xfrm>
            <a:off x="128588" y="791766"/>
            <a:ext cx="8332787" cy="4331494"/>
            <a:chOff x="81" y="665"/>
            <a:chExt cx="5249" cy="3638"/>
          </a:xfrm>
        </p:grpSpPr>
        <p:sp>
          <p:nvSpPr>
            <p:cNvPr id="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20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600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3962"/>
              <a:ext cx="5249" cy="34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 fontAlgn="base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1" y="2048739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3207217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10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7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21"/>
          <p:cNvGraphicFramePr>
            <a:graphicFrameLocks noChangeAspect="1"/>
          </p:cNvGraphicFramePr>
          <p:nvPr/>
        </p:nvGraphicFramePr>
        <p:xfrm>
          <a:off x="0" y="628650"/>
          <a:ext cx="9144000" cy="57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8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28650"/>
                        <a:ext cx="9144000" cy="57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81038"/>
            <a:ext cx="9144000" cy="54769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600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3" name="Object 24"/>
          <p:cNvGraphicFramePr>
            <a:graphicFrameLocks noChangeAspect="1"/>
          </p:cNvGraphicFramePr>
          <p:nvPr/>
        </p:nvGraphicFramePr>
        <p:xfrm>
          <a:off x="7185025" y="114300"/>
          <a:ext cx="1854200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9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14300"/>
                        <a:ext cx="1854200" cy="371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FD1CBD-B949-4394-9321-E8E711BE6E5A}" type="datetime1">
              <a:rPr lang="ru-RU">
                <a:solidFill>
                  <a:srgbClr val="000000"/>
                </a:solidFill>
              </a:rPr>
              <a:pPr>
                <a:defRPr/>
              </a:pPr>
              <a:t>30.07.2014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6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AF68C1D5-309C-417F-979C-8297EE08DEE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29467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McK Slide Elements"/>
          <p:cNvGrpSpPr>
            <a:grpSpLocks/>
          </p:cNvGrpSpPr>
          <p:nvPr/>
        </p:nvGrpSpPr>
        <p:grpSpPr bwMode="auto">
          <a:xfrm>
            <a:off x="128588" y="791766"/>
            <a:ext cx="8332787" cy="4331494"/>
            <a:chOff x="81" y="665"/>
            <a:chExt cx="5249" cy="3638"/>
          </a:xfrm>
        </p:grpSpPr>
        <p:sp>
          <p:nvSpPr>
            <p:cNvPr id="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20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600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3962"/>
              <a:ext cx="5249" cy="34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 fontAlgn="base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1" y="2048739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3207217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10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21"/>
          <p:cNvGraphicFramePr>
            <a:graphicFrameLocks noChangeAspect="1"/>
          </p:cNvGraphicFramePr>
          <p:nvPr/>
        </p:nvGraphicFramePr>
        <p:xfrm>
          <a:off x="0" y="628650"/>
          <a:ext cx="9144000" cy="57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2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28650"/>
                        <a:ext cx="9144000" cy="57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81038"/>
            <a:ext cx="9144000" cy="54769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600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3" name="Object 24"/>
          <p:cNvGraphicFramePr>
            <a:graphicFrameLocks noChangeAspect="1"/>
          </p:cNvGraphicFramePr>
          <p:nvPr/>
        </p:nvGraphicFramePr>
        <p:xfrm>
          <a:off x="7185025" y="114300"/>
          <a:ext cx="1854200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3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14300"/>
                        <a:ext cx="1854200" cy="371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4752A0-5EA9-4784-A459-B1797513A4E7}" type="datetime1">
              <a:rPr lang="ru-RU">
                <a:solidFill>
                  <a:srgbClr val="000000"/>
                </a:solidFill>
              </a:rPr>
              <a:pPr>
                <a:defRPr/>
              </a:pPr>
              <a:t>30.07.2014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6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806FD9A8-0418-440C-899D-63746315448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30710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8588" y="791766"/>
            <a:ext cx="8332787" cy="4331494"/>
            <a:chOff x="81" y="665"/>
            <a:chExt cx="5249" cy="3638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20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600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3962"/>
              <a:ext cx="5249" cy="34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 fontAlgn="base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7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1" y="2048739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3207217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9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5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1"/>
          <p:cNvGraphicFramePr>
            <a:graphicFrameLocks noChangeAspect="1"/>
          </p:cNvGraphicFramePr>
          <p:nvPr/>
        </p:nvGraphicFramePr>
        <p:xfrm>
          <a:off x="0" y="628650"/>
          <a:ext cx="9144000" cy="57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6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28650"/>
                        <a:ext cx="9144000" cy="57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81038"/>
            <a:ext cx="9144000" cy="54769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600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2" name="Object 24"/>
          <p:cNvGraphicFramePr>
            <a:graphicFrameLocks noChangeAspect="1"/>
          </p:cNvGraphicFramePr>
          <p:nvPr/>
        </p:nvGraphicFramePr>
        <p:xfrm>
          <a:off x="7185025" y="114300"/>
          <a:ext cx="1854200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7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14300"/>
                        <a:ext cx="1854200" cy="371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59171" y="951310"/>
            <a:ext cx="2954655" cy="1231106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F1DA8E-B785-4D79-8F3C-8822C0864AAC}" type="datetime1">
              <a:rPr lang="ru-RU">
                <a:solidFill>
                  <a:srgbClr val="000000"/>
                </a:solidFill>
              </a:rPr>
              <a:pPr>
                <a:defRPr/>
              </a:pPr>
              <a:t>30.07.2014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22046BD9-CADB-4D02-B2C4-5766D76055E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76221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8588" y="791766"/>
            <a:ext cx="8332787" cy="4331494"/>
            <a:chOff x="81" y="665"/>
            <a:chExt cx="5249" cy="3638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20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600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3962"/>
              <a:ext cx="5249" cy="34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 fontAlgn="base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7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1" y="2048739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3207217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9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9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1"/>
          <p:cNvGraphicFramePr>
            <a:graphicFrameLocks noChangeAspect="1"/>
          </p:cNvGraphicFramePr>
          <p:nvPr/>
        </p:nvGraphicFramePr>
        <p:xfrm>
          <a:off x="0" y="628650"/>
          <a:ext cx="9144000" cy="57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0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28650"/>
                        <a:ext cx="9144000" cy="57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81038"/>
            <a:ext cx="9144000" cy="54769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600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2" name="Object 24"/>
          <p:cNvGraphicFramePr>
            <a:graphicFrameLocks noChangeAspect="1"/>
          </p:cNvGraphicFramePr>
          <p:nvPr/>
        </p:nvGraphicFramePr>
        <p:xfrm>
          <a:off x="7185025" y="114300"/>
          <a:ext cx="1854200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1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14300"/>
                        <a:ext cx="1854200" cy="371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48475" y="0"/>
            <a:ext cx="2165350" cy="186809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72527" y="0"/>
            <a:ext cx="1723549" cy="186809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BA8B54-85BB-4CC3-A090-9487EA072217}" type="datetime1">
              <a:rPr lang="ru-RU">
                <a:solidFill>
                  <a:srgbClr val="000000"/>
                </a:solidFill>
              </a:rPr>
              <a:pPr>
                <a:defRPr/>
              </a:pPr>
              <a:t>30.07.2014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B0A8A79A-305E-4353-A23B-7CC6C6C498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1894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McK Slide Elements"/>
          <p:cNvGrpSpPr>
            <a:grpSpLocks/>
          </p:cNvGrpSpPr>
          <p:nvPr/>
        </p:nvGrpSpPr>
        <p:grpSpPr bwMode="auto">
          <a:xfrm>
            <a:off x="128588" y="791766"/>
            <a:ext cx="8332787" cy="4331494"/>
            <a:chOff x="81" y="665"/>
            <a:chExt cx="5249" cy="3638"/>
          </a:xfrm>
        </p:grpSpPr>
        <p:sp>
          <p:nvSpPr>
            <p:cNvPr id="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20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600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3962"/>
              <a:ext cx="5249" cy="34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 fontAlgn="base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9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1" y="2048739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10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3207217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11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3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21"/>
          <p:cNvGraphicFramePr>
            <a:graphicFrameLocks noChangeAspect="1"/>
          </p:cNvGraphicFramePr>
          <p:nvPr/>
        </p:nvGraphicFramePr>
        <p:xfrm>
          <a:off x="0" y="628650"/>
          <a:ext cx="9144000" cy="57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4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28650"/>
                        <a:ext cx="9144000" cy="57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681038"/>
            <a:ext cx="9144000" cy="54769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600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4" name="Object 24"/>
          <p:cNvGraphicFramePr>
            <a:graphicFrameLocks noChangeAspect="1"/>
          </p:cNvGraphicFramePr>
          <p:nvPr/>
        </p:nvGraphicFramePr>
        <p:xfrm>
          <a:off x="7185025" y="114300"/>
          <a:ext cx="1854200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5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14300"/>
                        <a:ext cx="1854200" cy="371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200150"/>
            <a:ext cx="4038600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2953942"/>
            <a:ext cx="4038600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C20B81-013A-40ED-AED0-AE3390963E2F}" type="datetime1">
              <a:rPr lang="ru-RU">
                <a:solidFill>
                  <a:srgbClr val="000000"/>
                </a:solidFill>
              </a:rPr>
              <a:pPr>
                <a:defRPr/>
              </a:pPr>
              <a:t>30.07.2014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D2EEBF-E09C-47D5-984E-71AC82E20E8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79090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9A5B2-5608-4E68-9873-E353E6A6A360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B6384-A208-4E9C-9824-46D9CABB684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24107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03056-C7FC-48ED-B09D-96DB50ADEFF3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B6384-A208-4E9C-9824-46D9CABB684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01134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5156FF-D8B4-4F13-85BE-1354D95D25B2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B6384-A208-4E9C-9824-46D9CABB684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92759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B2C327-E979-4050-9C1B-3665AFFAA69A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B6384-A208-4E9C-9824-46D9CABB684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08896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C184A-F9C5-4034-A666-522E509B30D1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B6384-A208-4E9C-9824-46D9CABB684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3076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74B273-494E-43EE-A1D2-F739B2AAF9AF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8B6384-A208-4E9C-9824-46D9CABB684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755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26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ags" Target="../tags/tag3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1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33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vmlDrawing" Target="../drawings/vmlDrawing1.vml"/><Relationship Id="rId22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CB2C96-F33D-46DD-BAFB-BB8FB1C89A66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8B6384-A208-4E9C-9824-46D9CABB684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7020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54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FF5DC-C933-46E9-80D1-31FD29A8D11A}" type="datetime1">
              <a:rPr lang="ru-RU" smtClean="0"/>
              <a:t>30.07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2762D8-67BA-4D88-8CC3-99F2ECD86BE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9507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350838" y="0"/>
            <a:ext cx="6735762" cy="613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AU" altLang="ru-RU" smtClean="0"/>
              <a:t>Click to edit Master title style</a:t>
            </a:r>
          </a:p>
        </p:txBody>
      </p:sp>
      <p:sp>
        <p:nvSpPr>
          <p:cNvPr id="1027" name="Rectangle 6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350839" y="951310"/>
            <a:ext cx="8662987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AU" altLang="ru-RU" smtClean="0"/>
              <a:t>Click to edit Master text styles</a:t>
            </a:r>
          </a:p>
          <a:p>
            <a:pPr lvl="1"/>
            <a:r>
              <a:rPr lang="en-AU" altLang="ru-RU" smtClean="0"/>
              <a:t>Second level</a:t>
            </a:r>
          </a:p>
          <a:p>
            <a:pPr lvl="2"/>
            <a:r>
              <a:rPr lang="en-AU" altLang="ru-RU" smtClean="0"/>
              <a:t>Third level</a:t>
            </a:r>
          </a:p>
          <a:p>
            <a:pPr lvl="3"/>
            <a:r>
              <a:rPr lang="en-AU" altLang="ru-RU" smtClean="0"/>
              <a:t>Fourth level</a:t>
            </a:r>
          </a:p>
          <a:p>
            <a:pPr lvl="4"/>
            <a:r>
              <a:rPr lang="en-AU" altLang="ru-RU" smtClean="0"/>
              <a:t>Fifth level</a:t>
            </a:r>
          </a:p>
        </p:txBody>
      </p:sp>
      <p:grpSp>
        <p:nvGrpSpPr>
          <p:cNvPr id="1028" name="McK Slide Elements"/>
          <p:cNvGrpSpPr>
            <a:grpSpLocks/>
          </p:cNvGrpSpPr>
          <p:nvPr/>
        </p:nvGrpSpPr>
        <p:grpSpPr bwMode="auto">
          <a:xfrm>
            <a:off x="128588" y="791766"/>
            <a:ext cx="8332787" cy="4331494"/>
            <a:chOff x="81" y="665"/>
            <a:chExt cx="5249" cy="3638"/>
          </a:xfrm>
        </p:grpSpPr>
        <p:sp>
          <p:nvSpPr>
            <p:cNvPr id="5018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20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600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5018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3962"/>
              <a:ext cx="5249" cy="341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 fontAlgn="base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50186" name="Working Draft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 rot="5400000">
            <a:off x="8209331" y="2048739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50187" name="Printed" hidden="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 rot="5400000">
            <a:off x="8586037" y="3207217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1031" name="Rectangle 12" hidden="1"/>
          <p:cNvGraphicFramePr>
            <a:graphicFrameLocks/>
          </p:cNvGraphicFramePr>
          <p:nvPr>
            <p:custDataLst>
              <p:tags r:id="rId19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5" name="think-cell Slide" r:id="rId21" imgW="0" imgH="0" progId="TCLayout.ActiveDocument.1">
                  <p:embed/>
                </p:oleObj>
              </mc:Choice>
              <mc:Fallback>
                <p:oleObj name="think-cell Slide" r:id="rId21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191" name="Rectangle 1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4686300"/>
            <a:ext cx="1905000" cy="342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400">
                <a:latin typeface="Times New Roman" pitchFamily="18" charset="0"/>
                <a:cs typeface="Tahom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EEDC50E-5DE4-4FCB-B7F7-2444ABB563D3}" type="datetime1">
              <a:rPr 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0.07.2014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0192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4686300"/>
            <a:ext cx="2895600" cy="342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400">
                <a:latin typeface="Times New Roman" pitchFamily="18" charset="0"/>
                <a:cs typeface="Tahoma" pitchFamily="34" charset="0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0193" name="Rectangle 1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05801" y="4800600"/>
            <a:ext cx="809625" cy="285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SzTx/>
              <a:buFontTx/>
              <a:buNone/>
              <a:defRPr sz="1200" i="0">
                <a:solidFill>
                  <a:srgbClr val="969696"/>
                </a:solidFill>
                <a:latin typeface="+mj-lt"/>
                <a:cs typeface="Tahoma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0305A55-72ED-40C7-8567-6A8F0FC98A84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/>
          </a:p>
        </p:txBody>
      </p:sp>
      <p:graphicFrame>
        <p:nvGraphicFramePr>
          <p:cNvPr id="1035" name="Object 21"/>
          <p:cNvGraphicFramePr>
            <a:graphicFrameLocks noChangeAspect="1"/>
          </p:cNvGraphicFramePr>
          <p:nvPr/>
        </p:nvGraphicFramePr>
        <p:xfrm>
          <a:off x="0" y="628650"/>
          <a:ext cx="9144000" cy="57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6" name="Фотография Photo Editor" r:id="rId22" imgW="14270442" imgH="142933" progId="MSPhotoEd.3">
                  <p:embed/>
                </p:oleObj>
              </mc:Choice>
              <mc:Fallback>
                <p:oleObj name="Фотография Photo Editor" r:id="rId22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28650"/>
                        <a:ext cx="9144000" cy="571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0" y="681038"/>
            <a:ext cx="9144000" cy="54769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1600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037" name="Object 24"/>
          <p:cNvGraphicFramePr>
            <a:graphicFrameLocks noChangeAspect="1"/>
          </p:cNvGraphicFramePr>
          <p:nvPr/>
        </p:nvGraphicFramePr>
        <p:xfrm>
          <a:off x="7185025" y="114300"/>
          <a:ext cx="1854200" cy="371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" name="Фотография Photo Editor" r:id="rId24" imgW="4172532" imgH="1114581" progId="MSPhotoEd.3">
                  <p:embed/>
                </p:oleObj>
              </mc:Choice>
              <mc:Fallback>
                <p:oleObj name="Фотография Photo Editor" r:id="rId24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14300"/>
                        <a:ext cx="1854200" cy="371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2432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Tahoma" pitchFamily="34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Tahoma" pitchFamily="34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Tahoma" pitchFamily="34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Tahoma" pitchFamily="34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Tahoma" pitchFamily="34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Tahoma" pitchFamily="34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Tahoma" pitchFamily="34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Tahoma" pitchFamily="34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7638" indent="-146050" algn="l" defTabSz="91281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301625" indent="-152400" algn="l" defTabSz="912813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41325" indent="-138113" algn="l" defTabSz="912813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93725" indent="-150813" algn="l" defTabSz="912813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50925" indent="-150813" algn="l" defTabSz="912813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508125" indent="-150813" algn="l" defTabSz="912813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65325" indent="-150813" algn="l" defTabSz="912813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22525" indent="-150813" algn="l" defTabSz="912813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2.png"/><Relationship Id="rId5" Type="http://schemas.openxmlformats.org/officeDocument/2006/relationships/image" Target="../media/image3.png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lacucaracha4ltrophy.free.fr/pictures/Partenaires.png" TargetMode="External"/><Relationship Id="rId3" Type="http://schemas.openxmlformats.org/officeDocument/2006/relationships/image" Target="../media/image15.png"/><Relationship Id="rId7" Type="http://schemas.openxmlformats.org/officeDocument/2006/relationships/image" Target="cid:image002.png@01CF62FF.F69A3EC0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5.xml"/><Relationship Id="rId7" Type="http://schemas.microsoft.com/office/2007/relationships/hdphoto" Target="../media/hdphoto1.wdp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55.xml"/><Relationship Id="rId6" Type="http://schemas.openxmlformats.org/officeDocument/2006/relationships/image" Target="../media/image20.png"/><Relationship Id="rId5" Type="http://schemas.openxmlformats.org/officeDocument/2006/relationships/image" Target="../media/image10.png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7.png"/><Relationship Id="rId7" Type="http://schemas.openxmlformats.org/officeDocument/2006/relationships/image" Target="../media/image2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3.jpeg"/><Relationship Id="rId5" Type="http://schemas.openxmlformats.org/officeDocument/2006/relationships/image" Target="../media/image22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3.png"/><Relationship Id="rId3" Type="http://schemas.openxmlformats.org/officeDocument/2006/relationships/image" Target="../media/image25.png"/><Relationship Id="rId7" Type="http://schemas.openxmlformats.org/officeDocument/2006/relationships/image" Target="../media/image28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7.png"/><Relationship Id="rId11" Type="http://schemas.openxmlformats.org/officeDocument/2006/relationships/image" Target="../media/image3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10.png"/><Relationship Id="rId9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2.png"/><Relationship Id="rId5" Type="http://schemas.openxmlformats.org/officeDocument/2006/relationships/image" Target="../media/image3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95486"/>
            <a:ext cx="3104423" cy="801141"/>
          </a:xfrm>
          <a:prstGeom prst="rect">
            <a:avLst/>
          </a:prstGeom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755576" y="943521"/>
            <a:ext cx="7920880" cy="2655242"/>
          </a:xfrm>
        </p:spPr>
        <p:txBody>
          <a:bodyPr>
            <a:normAutofit/>
          </a:bodyPr>
          <a:lstStyle/>
          <a:p>
            <a:r>
              <a:rPr lang="ru-RU" sz="2800" dirty="0" smtClean="0">
                <a:solidFill>
                  <a:srgbClr val="0070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  <a:ea typeface="Segoe UI" panose="020B0502040204020203" pitchFamily="34" charset="0"/>
                <a:cs typeface="Segoe UI" panose="020B0502040204020203" pitchFamily="34" charset="0"/>
              </a:rPr>
              <a:t>Семинар:</a:t>
            </a:r>
            <a:br>
              <a:rPr lang="ru-RU" sz="2800" dirty="0" smtClean="0">
                <a:solidFill>
                  <a:srgbClr val="0070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2800" dirty="0">
                <a:solidFill>
                  <a:srgbClr val="0070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  <a:ea typeface="Segoe UI" panose="020B0502040204020203" pitchFamily="34" charset="0"/>
                <a:cs typeface="Segoe UI" panose="020B0502040204020203" pitchFamily="34" charset="0"/>
              </a:rPr>
              <a:t>« Простые решения для малого бизнеса»</a:t>
            </a:r>
            <a:br>
              <a:rPr lang="ru-RU" sz="2800" dirty="0">
                <a:solidFill>
                  <a:srgbClr val="0070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2800" dirty="0">
                <a:solidFill>
                  <a:srgbClr val="0070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  <a:ea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2800" dirty="0">
                <a:solidFill>
                  <a:srgbClr val="0070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2800" dirty="0">
                <a:solidFill>
                  <a:srgbClr val="0070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  <a:ea typeface="Segoe UI" panose="020B0502040204020203" pitchFamily="34" charset="0"/>
                <a:cs typeface="Segoe UI" panose="020B0502040204020203" pitchFamily="34" charset="0"/>
              </a:rPr>
              <a:t>Основные аспекты и нововведения </a:t>
            </a:r>
            <a:br>
              <a:rPr lang="ru-RU" sz="2800" dirty="0">
                <a:solidFill>
                  <a:srgbClr val="0070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2800" dirty="0">
                <a:solidFill>
                  <a:srgbClr val="0070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  <a:ea typeface="Segoe UI" panose="020B0502040204020203" pitchFamily="34" charset="0"/>
                <a:cs typeface="Segoe UI" panose="020B0502040204020203" pitchFamily="34" charset="0"/>
              </a:rPr>
              <a:t>в  условия работы клиентов малого бизнеса со  Сбербанком  России</a:t>
            </a:r>
            <a:endParaRPr lang="ru-RU" sz="3200" dirty="0">
              <a:solidFill>
                <a:srgbClr val="0070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Print" panose="02000600000000000000" pitchFamily="2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7092280" y="4083918"/>
            <a:ext cx="1908004" cy="900246"/>
            <a:chOff x="7020272" y="4047768"/>
            <a:chExt cx="1908004" cy="900246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20272" y="4132564"/>
              <a:ext cx="190476" cy="203174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7214345" y="4047768"/>
              <a:ext cx="1713931" cy="90024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ru-RU" sz="1200" dirty="0" smtClean="0">
                  <a:solidFill>
                    <a:schemeClr val="bg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 Print" panose="02000600000000000000" pitchFamily="2" charset="0"/>
                  <a:ea typeface="Segoe UI" panose="020B0502040204020203" pitchFamily="34" charset="0"/>
                  <a:cs typeface="Segoe UI" panose="020B0502040204020203" pitchFamily="34" charset="0"/>
                </a:rPr>
                <a:t>Я – лидер!</a:t>
              </a:r>
            </a:p>
            <a:p>
              <a:pPr>
                <a:lnSpc>
                  <a:spcPct val="150000"/>
                </a:lnSpc>
              </a:pPr>
              <a:r>
                <a:rPr lang="ru-RU" sz="1200" dirty="0" smtClean="0">
                  <a:solidFill>
                    <a:schemeClr val="bg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 Print" panose="02000600000000000000" pitchFamily="2" charset="0"/>
                  <a:ea typeface="Segoe UI" panose="020B0502040204020203" pitchFamily="34" charset="0"/>
                  <a:cs typeface="Segoe UI" panose="020B0502040204020203" pitchFamily="34" charset="0"/>
                </a:rPr>
                <a:t>Мы – команда!</a:t>
              </a:r>
            </a:p>
            <a:p>
              <a:pPr>
                <a:lnSpc>
                  <a:spcPct val="150000"/>
                </a:lnSpc>
              </a:pPr>
              <a:r>
                <a:rPr lang="ru-RU" sz="1200" dirty="0" smtClean="0">
                  <a:solidFill>
                    <a:schemeClr val="bg1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Segoe Print" panose="02000600000000000000" pitchFamily="2" charset="0"/>
                  <a:ea typeface="Segoe UI" panose="020B0502040204020203" pitchFamily="34" charset="0"/>
                  <a:cs typeface="Segoe UI" panose="020B0502040204020203" pitchFamily="34" charset="0"/>
                </a:rPr>
                <a:t>Все – для клиента</a:t>
              </a:r>
              <a:endParaRPr lang="ru-RU" sz="1200" dirty="0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20272" y="4412220"/>
              <a:ext cx="190476" cy="203175"/>
            </a:xfrm>
            <a:prstGeom prst="rect">
              <a:avLst/>
            </a:prstGeom>
          </p:spPr>
        </p:pic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20272" y="4698139"/>
              <a:ext cx="190476" cy="203175"/>
            </a:xfrm>
            <a:prstGeom prst="rect">
              <a:avLst/>
            </a:prstGeom>
          </p:spPr>
        </p:pic>
      </p:grp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333" y="3518531"/>
            <a:ext cx="2626492" cy="150346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4529251"/>
            <a:ext cx="1658937" cy="433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80911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4"/>
          <p:cNvSpPr txBox="1">
            <a:spLocks/>
          </p:cNvSpPr>
          <p:nvPr/>
        </p:nvSpPr>
        <p:spPr>
          <a:xfrm>
            <a:off x="107505" y="843558"/>
            <a:ext cx="8902248" cy="2952328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 fontScale="25000" lnSpcReduction="2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50000"/>
              </a:spcBef>
            </a:pPr>
            <a:r>
              <a:rPr lang="ru-RU" sz="5600" b="1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</a:t>
            </a: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КВАЙРИНГ— это комплекс технических сервисных решений, который позволяет предприятию принимать банковский карты к оплате за товары и услуги.</a:t>
            </a:r>
          </a:p>
          <a:p>
            <a:pPr algn="l">
              <a:spcBef>
                <a:spcPct val="50000"/>
              </a:spcBef>
            </a:pP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5600" b="1" u="sng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имущества:</a:t>
            </a:r>
          </a:p>
          <a:p>
            <a:pPr algn="l">
              <a:spcBef>
                <a:spcPct val="50000"/>
              </a:spcBef>
            </a:pPr>
            <a:endParaRPr lang="ru-RU" sz="5600" b="1" u="sng" dirty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Обслуживание </a:t>
            </a:r>
            <a:r>
              <a:rPr lang="ru-RU" sz="5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т международных </a:t>
            </a: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тежных </a:t>
            </a:r>
            <a:r>
              <a:rPr lang="ru-RU" sz="5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истем VISA, </a:t>
            </a:r>
            <a:r>
              <a:rPr lang="ru-RU" sz="5600" dirty="0" err="1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sterCard</a:t>
            </a:r>
            <a:r>
              <a:rPr lang="ru-RU" sz="5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5600" dirty="0" err="1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erican</a:t>
            </a:r>
            <a:r>
              <a:rPr lang="ru-RU" sz="5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5600" dirty="0" err="1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ress</a:t>
            </a:r>
            <a:endParaRPr lang="ru-RU" sz="5600" dirty="0" smtClean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endParaRPr lang="ru-RU" sz="5600" dirty="0" smtClean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Возможность </a:t>
            </a:r>
            <a:r>
              <a:rPr lang="ru-RU" sz="5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есперебойной обработки более 30 000 операций в секунду </a:t>
            </a: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собственный   процессинговый</a:t>
            </a:r>
          </a:p>
          <a:p>
            <a:pPr algn="l"/>
            <a:r>
              <a:rPr lang="ru-RU" sz="5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центр. Снижение </a:t>
            </a:r>
            <a:r>
              <a:rPr lang="ru-RU" sz="5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ходов на </a:t>
            </a: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нкассацию.</a:t>
            </a:r>
          </a:p>
          <a:p>
            <a:pPr algn="l"/>
            <a:endParaRPr lang="ru-RU" sz="5600" dirty="0" smtClean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Исключение </a:t>
            </a:r>
            <a:r>
              <a:rPr lang="ru-RU" sz="5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исков при работе с наличными </a:t>
            </a: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еньгами</a:t>
            </a:r>
          </a:p>
          <a:p>
            <a:pPr algn="l"/>
            <a:endParaRPr lang="ru-RU" sz="5600" dirty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spcBef>
                <a:spcPct val="50000"/>
              </a:spcBef>
            </a:pPr>
            <a:r>
              <a:rPr lang="en-US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</a:t>
            </a: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величение объемов продаж и  скорости оплаты товаров и услуг с помощью банковских карт</a:t>
            </a:r>
          </a:p>
          <a:p>
            <a:pPr algn="l">
              <a:spcBef>
                <a:spcPct val="50000"/>
              </a:spcBef>
            </a:pP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</a:t>
            </a:r>
          </a:p>
          <a:p>
            <a:pPr algn="l">
              <a:spcBef>
                <a:spcPct val="50000"/>
              </a:spcBef>
            </a:pP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Возможность сотрудничества с одной из крупнейших банковских программ лояльности в России </a:t>
            </a:r>
          </a:p>
          <a:p>
            <a:pPr algn="l">
              <a:spcBef>
                <a:spcPct val="50000"/>
              </a:spcBef>
            </a:pP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  <a:r>
              <a:rPr lang="en-US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ru-RU" sz="5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асибо от Сбербанка</a:t>
            </a: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. </a:t>
            </a:r>
            <a:endParaRPr lang="ru-RU" sz="5600" dirty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spcBef>
                <a:spcPct val="50000"/>
              </a:spcBef>
            </a:pPr>
            <a:endParaRPr lang="en-US" sz="5600" dirty="0" smtClean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spcBef>
                <a:spcPct val="50000"/>
              </a:spcBef>
            </a:pPr>
            <a:endParaRPr lang="ru-RU" sz="5600" dirty="0" smtClean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spcBef>
                <a:spcPct val="50000"/>
              </a:spcBef>
            </a:pPr>
            <a:endParaRPr lang="ru-RU" sz="5600" dirty="0" smtClean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spcBef>
                <a:spcPct val="50000"/>
              </a:spcBef>
            </a:pPr>
            <a:endParaRPr lang="ru-RU" sz="5600" dirty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5743462" y="2159761"/>
            <a:ext cx="771549" cy="14309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676426" y="4817393"/>
            <a:ext cx="2133600" cy="274637"/>
          </a:xfrm>
        </p:spPr>
        <p:txBody>
          <a:bodyPr/>
          <a:lstStyle/>
          <a:p>
            <a:fld id="{5B7E7DCD-C0EE-423A-BF93-9D3D62B97076}" type="slidenum">
              <a:rPr lang="ru-RU" b="1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</a:rPr>
              <a:pPr/>
              <a:t>10</a:t>
            </a:fld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Print" panose="02000600000000000000" pitchFamily="2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6669" y="4731990"/>
            <a:ext cx="207779" cy="342555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250825" y="123063"/>
            <a:ext cx="6472222" cy="648488"/>
          </a:xfrm>
        </p:spPr>
        <p:txBody>
          <a:bodyPr>
            <a:normAutofit/>
          </a:bodyPr>
          <a:lstStyle/>
          <a:p>
            <a:r>
              <a:rPr lang="en-GB" sz="20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kern="1200" dirty="0" err="1">
                <a:latin typeface="Calibri" panose="020F0502020204030204" pitchFamily="34" charset="0"/>
                <a:cs typeface="Calibri" panose="020F0502020204030204" pitchFamily="34" charset="0"/>
              </a:rPr>
              <a:t>Некредитные</a:t>
            </a:r>
            <a:r>
              <a:rPr lang="ru-RU" sz="1600" kern="1200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ru-RU" sz="1600" kern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дукты: Торговый </a:t>
            </a:r>
            <a:r>
              <a:rPr lang="ru-RU" sz="1600" kern="12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эквайринг</a:t>
            </a:r>
            <a:endParaRPr lang="ru-RU" sz="1600" kern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0387" y="123478"/>
            <a:ext cx="1917473" cy="460862"/>
          </a:xfrm>
          <a:prstGeom prst="rect">
            <a:avLst/>
          </a:prstGeom>
        </p:spPr>
      </p:pic>
      <p:sp>
        <p:nvSpPr>
          <p:cNvPr id="21" name="Content Placeholder 4"/>
          <p:cNvSpPr txBox="1">
            <a:spLocks/>
          </p:cNvSpPr>
          <p:nvPr/>
        </p:nvSpPr>
        <p:spPr>
          <a:xfrm>
            <a:off x="225612" y="3219822"/>
            <a:ext cx="8902248" cy="161229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4025" indent="-457200" algn="l">
              <a:spcBef>
                <a:spcPts val="600"/>
              </a:spcBef>
            </a:pPr>
            <a:endParaRPr lang="en-US" sz="1400" b="1" dirty="0" smtClean="0">
              <a:solidFill>
                <a:schemeClr val="tx1"/>
              </a:solidFill>
            </a:endParaRPr>
          </a:p>
        </p:txBody>
      </p:sp>
      <p:sp>
        <p:nvSpPr>
          <p:cNvPr id="22" name="Овал 21"/>
          <p:cNvSpPr/>
          <p:nvPr/>
        </p:nvSpPr>
        <p:spPr bwMode="auto">
          <a:xfrm>
            <a:off x="250825" y="843558"/>
            <a:ext cx="215665" cy="207628"/>
          </a:xfrm>
          <a:prstGeom prst="ellipse">
            <a:avLst/>
          </a:prstGeom>
          <a:gradFill rotWithShape="0">
            <a:gsLst>
              <a:gs pos="0">
                <a:schemeClr val="accent1"/>
              </a:gs>
              <a:gs pos="100000">
                <a:srgbClr val="00870F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0" tIns="0" rIns="0" bIns="0"/>
          <a:lstStyle>
            <a:lvl1pPr defTabSz="8588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98500" indent="-268288" defTabSz="8588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073150" indent="-214313" defTabSz="8588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03363" indent="-214313" defTabSz="8588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33575" indent="-215900" defTabSz="8588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90775" indent="-215900" defTabSz="8588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47975" indent="-215900" defTabSz="8588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305175" indent="-215900" defTabSz="8588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62375" indent="-215900" defTabSz="8588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0" hangingPunct="0">
              <a:lnSpc>
                <a:spcPct val="90000"/>
              </a:lnSpc>
            </a:pPr>
            <a:endParaRPr lang="ru-RU" sz="1100" b="0">
              <a:solidFill>
                <a:schemeClr val="bg1"/>
              </a:solidFill>
            </a:endParaRPr>
          </a:p>
        </p:txBody>
      </p:sp>
      <p:pic>
        <p:nvPicPr>
          <p:cNvPr id="24" name="Picture 17" descr="GArrow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612" y="1809499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17" descr="GArrow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612" y="2233363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17" descr="GArrow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815" y="3385264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0" descr="GArrow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612" y="3911670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81" descr="GArrow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612" y="2875224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2461962"/>
            <a:ext cx="1063406" cy="1538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81030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912" y="195902"/>
            <a:ext cx="1785841" cy="460862"/>
          </a:xfrm>
          <a:prstGeom prst="rect">
            <a:avLst/>
          </a:prstGeom>
        </p:spPr>
      </p:pic>
      <p:sp>
        <p:nvSpPr>
          <p:cNvPr id="8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676426" y="4817393"/>
            <a:ext cx="2133600" cy="274637"/>
          </a:xfrm>
        </p:spPr>
        <p:txBody>
          <a:bodyPr/>
          <a:lstStyle/>
          <a:p>
            <a:fld id="{5B7E7DCD-C0EE-423A-BF93-9D3D62B97076}" type="slidenum">
              <a:rPr lang="ru-RU" b="1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</a:rPr>
              <a:pPr/>
              <a:t>11</a:t>
            </a:fld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Print" panose="02000600000000000000" pitchFamily="2" charset="0"/>
            </a:endParaRPr>
          </a:p>
        </p:txBody>
      </p:sp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2" y="-90470"/>
            <a:ext cx="827265" cy="847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 bwMode="auto">
          <a:xfrm>
            <a:off x="927407" y="82393"/>
            <a:ext cx="6120680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rgbClr val="00703C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3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Контакты 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0703C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Заголовок 1"/>
          <p:cNvSpPr txBox="1">
            <a:spLocks/>
          </p:cNvSpPr>
          <p:nvPr/>
        </p:nvSpPr>
        <p:spPr bwMode="auto">
          <a:xfrm>
            <a:off x="250825" y="920880"/>
            <a:ext cx="8641655" cy="3451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9pPr>
          </a:lstStyle>
          <a:p>
            <a:pPr lvl="0" algn="ctr">
              <a:defRPr/>
            </a:pPr>
            <a:r>
              <a:rPr lang="ru-RU" sz="16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ru-RU" sz="1600" b="0" kern="0" dirty="0">
                <a:latin typeface="Calibri" panose="020F0502020204030204" pitchFamily="34" charset="0"/>
                <a:cs typeface="Calibri" panose="020F0502020204030204" pitchFamily="34" charset="0"/>
              </a:rPr>
              <a:t>Головное отделение Сбербанка по Ленинградской области </a:t>
            </a: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ОАО </a:t>
            </a:r>
            <a:r>
              <a:rPr lang="ru-RU" sz="1600" b="0" kern="0" dirty="0">
                <a:latin typeface="Calibri" panose="020F0502020204030204" pitchFamily="34" charset="0"/>
                <a:cs typeface="Calibri" panose="020F0502020204030204" pitchFamily="34" charset="0"/>
              </a:rPr>
              <a:t>«Сбербанк России</a:t>
            </a: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»:</a:t>
            </a:r>
          </a:p>
          <a:p>
            <a:pPr lvl="0">
              <a:defRPr/>
            </a:pPr>
            <a:r>
              <a:rPr lang="ru-RU" sz="1600" b="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</a:t>
            </a:r>
          </a:p>
          <a:p>
            <a:pPr lvl="0">
              <a:defRPr/>
            </a:pPr>
            <a:r>
              <a:rPr lang="ru-RU" sz="1600" b="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Адрес</a:t>
            </a:r>
            <a:r>
              <a:rPr lang="ru-RU" sz="1600" b="0" kern="0" dirty="0">
                <a:latin typeface="Calibri" panose="020F0502020204030204" pitchFamily="34" charset="0"/>
                <a:cs typeface="Calibri" panose="020F0502020204030204" pitchFamily="34" charset="0"/>
              </a:rPr>
              <a:t>: Невский пр. ,дом </a:t>
            </a: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101</a:t>
            </a:r>
          </a:p>
          <a:p>
            <a:pPr lvl="0">
              <a:defRPr/>
            </a:pPr>
            <a:r>
              <a:rPr lang="ru-RU" sz="1600" b="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ru-RU" sz="1600" b="0" kern="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defRPr/>
            </a:pPr>
            <a:r>
              <a:rPr lang="ru-RU" sz="1600" b="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Телефоны: </a:t>
            </a:r>
          </a:p>
          <a:p>
            <a:pPr lvl="0">
              <a:defRPr/>
            </a:pP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lvl="0">
              <a:defRPr/>
            </a:pP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   326-34-88  _ _ _     Панова Ольга Михайловна</a:t>
            </a:r>
          </a:p>
          <a:p>
            <a:pPr lvl="0">
              <a:defRPr/>
            </a:pPr>
            <a:r>
              <a:rPr lang="ru-RU" sz="1600" b="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</a:t>
            </a:r>
          </a:p>
          <a:p>
            <a:pPr lvl="0">
              <a:defRPr/>
            </a:pPr>
            <a:r>
              <a:rPr lang="ru-RU" sz="1600" b="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   680-21-23 _ _ </a:t>
            </a:r>
            <a:r>
              <a:rPr lang="ru-RU" sz="1600" b="0" kern="0" dirty="0">
                <a:latin typeface="Calibri" panose="020F0502020204030204" pitchFamily="34" charset="0"/>
                <a:cs typeface="Calibri" panose="020F0502020204030204" pitchFamily="34" charset="0"/>
              </a:rPr>
              <a:t>_      Старков Артем </a:t>
            </a: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Александрович</a:t>
            </a:r>
          </a:p>
          <a:p>
            <a:pPr lvl="0">
              <a:defRPr/>
            </a:pPr>
            <a:endParaRPr lang="ru-RU" sz="1600" b="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defRPr/>
            </a:pP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     680-41-72 _ _ _      Вихрова </a:t>
            </a:r>
            <a:r>
              <a:rPr lang="ru-RU" sz="1600" b="0" kern="0" dirty="0">
                <a:latin typeface="Calibri" panose="020F0502020204030204" pitchFamily="34" charset="0"/>
                <a:cs typeface="Calibri" panose="020F0502020204030204" pitchFamily="34" charset="0"/>
              </a:rPr>
              <a:t>Юлия </a:t>
            </a: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Андреевна</a:t>
            </a:r>
            <a:endParaRPr lang="ru-RU" sz="1600" b="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defRPr/>
            </a:pPr>
            <a:r>
              <a:rPr lang="ru-RU" sz="1600" b="0" kern="0" dirty="0">
                <a:latin typeface="Arial"/>
              </a:rPr>
              <a:t> </a:t>
            </a:r>
            <a:endParaRPr lang="ru-RU" sz="1600" b="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  <a:endParaRPr lang="ru-RU" sz="1600" b="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b="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rgbClr val="00703C"/>
              </a:solidFill>
              <a:effectLst/>
              <a:uLnTx/>
              <a:uFillTx/>
              <a:latin typeface="Arial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00703C"/>
              </a:solidFill>
              <a:effectLst/>
              <a:uLnTx/>
              <a:uFillTx/>
              <a:latin typeface="Arial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703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  <a:r>
              <a:rPr kumimoji="0" lang="ru-RU" i="0" u="none" strike="noStrike" kern="0" cap="none" spc="0" normalizeH="0" baseline="0" noProof="0" dirty="0" smtClean="0">
                <a:ln>
                  <a:noFill/>
                </a:ln>
                <a:solidFill>
                  <a:srgbClr val="00703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Спасибо за внимание!</a:t>
            </a: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b="0" kern="0" baseline="0" dirty="0" smtClean="0">
              <a:latin typeface="Arial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703C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6669" y="4731990"/>
            <a:ext cx="207779" cy="342555"/>
          </a:xfrm>
          <a:prstGeom prst="rect">
            <a:avLst/>
          </a:prstGeom>
        </p:spPr>
      </p:pic>
      <p:pic>
        <p:nvPicPr>
          <p:cNvPr id="15" name="Picture 6" descr="X:\Картиночки\для УРаз\pic\other\400_F_18520945_XfH23YKbRRVnnR4wvWnyAoDTtnexwVuJ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969" y="1347614"/>
            <a:ext cx="222250" cy="250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 descr="X:\Картиночки\для УРаз\pic\other\400_F_18520945_XfH23YKbRRVnnR4wvWnyAoDTtnexwVuJ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864" y="1737634"/>
            <a:ext cx="222250" cy="250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3305" y="1472630"/>
            <a:ext cx="2338444" cy="246585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9" descr="image106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2355726"/>
            <a:ext cx="936799" cy="1130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8480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912" y="195902"/>
            <a:ext cx="1785841" cy="460862"/>
          </a:xfrm>
          <a:prstGeom prst="rect">
            <a:avLst/>
          </a:prstGeom>
        </p:spPr>
      </p:pic>
      <p:sp>
        <p:nvSpPr>
          <p:cNvPr id="8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676426" y="4817393"/>
            <a:ext cx="2133600" cy="274637"/>
          </a:xfrm>
        </p:spPr>
        <p:txBody>
          <a:bodyPr/>
          <a:lstStyle/>
          <a:p>
            <a:fld id="{5B7E7DCD-C0EE-423A-BF93-9D3D62B97076}" type="slidenum">
              <a:rPr lang="ru-RU" b="1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</a:rPr>
              <a:pPr/>
              <a:t>2</a:t>
            </a:fld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Print" panose="02000600000000000000" pitchFamily="2" charset="0"/>
            </a:endParaRPr>
          </a:p>
        </p:txBody>
      </p:sp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2" y="-90470"/>
            <a:ext cx="827265" cy="847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 bwMode="auto">
          <a:xfrm>
            <a:off x="952195" y="175508"/>
            <a:ext cx="6120680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3C"/>
                </a:solidFill>
                <a:effectLst/>
                <a:uLnTx/>
                <a:uFillTx/>
                <a:latin typeface="Arial"/>
              </a:rPr>
              <a:t>Основная информация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rgbClr val="00703C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7" name="Заголовок 1"/>
          <p:cNvSpPr txBox="1">
            <a:spLocks/>
          </p:cNvSpPr>
          <p:nvPr/>
        </p:nvSpPr>
        <p:spPr bwMode="auto">
          <a:xfrm>
            <a:off x="250825" y="920880"/>
            <a:ext cx="8641655" cy="3811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9pPr>
          </a:lstStyle>
          <a:p>
            <a:pPr lvl="0">
              <a:defRPr/>
            </a:pPr>
            <a:r>
              <a:rPr lang="ru-RU" sz="1600" kern="0" dirty="0" smtClean="0">
                <a:latin typeface="Arial"/>
              </a:rPr>
              <a:t>      </a:t>
            </a:r>
            <a:r>
              <a:rPr lang="ru-RU" sz="16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Тема: </a:t>
            </a:r>
            <a:r>
              <a:rPr lang="ru-RU" sz="1600" b="0" kern="0" dirty="0">
                <a:latin typeface="Calibri" panose="020F0502020204030204" pitchFamily="34" charset="0"/>
                <a:cs typeface="Calibri" panose="020F0502020204030204" pitchFamily="34" charset="0"/>
              </a:rPr>
              <a:t>Основные аспекты и нововведения </a:t>
            </a: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в  </a:t>
            </a:r>
            <a:r>
              <a:rPr lang="ru-RU" sz="1600" b="0" kern="0" dirty="0">
                <a:latin typeface="Calibri" panose="020F0502020204030204" pitchFamily="34" charset="0"/>
                <a:cs typeface="Calibri" panose="020F0502020204030204" pitchFamily="34" charset="0"/>
              </a:rPr>
              <a:t>условия работы клиентов малого бизнеса со  Сбербанком  России</a:t>
            </a:r>
            <a:endParaRPr lang="ru-RU" sz="1600" b="0" kern="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defRPr/>
            </a:pPr>
            <a:endParaRPr lang="ru-RU" sz="16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3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      Время проведения: 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703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30 июля 2014 года</a:t>
            </a:r>
            <a:r>
              <a:rPr kumimoji="0" lang="ru-RU" sz="1600" b="0" i="0" u="none" strike="noStrike" kern="0" cap="none" spc="0" normalizeH="0" noProof="0" dirty="0" smtClean="0">
                <a:ln>
                  <a:noFill/>
                </a:ln>
                <a:solidFill>
                  <a:srgbClr val="00703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ru-RU" sz="16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11-00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0" cap="none" spc="0" normalizeH="0" baseline="0" noProof="0" dirty="0" smtClean="0">
              <a:ln>
                <a:noFill/>
              </a:ln>
              <a:solidFill>
                <a:srgbClr val="00703C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Место: </a:t>
            </a: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Санкт-Петербург, Суворовский пр., 67</a:t>
            </a: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Участники от Сбербанка:</a:t>
            </a:r>
            <a:r>
              <a:rPr lang="ru-RU" sz="1600" b="0" kern="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b="0" kern="0" dirty="0" smtClean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-  Начальник </a:t>
            </a:r>
            <a:r>
              <a:rPr lang="ru-RU" sz="1600" b="0" kern="0" dirty="0">
                <a:latin typeface="Calibri" panose="020F0502020204030204" pitchFamily="34" charset="0"/>
                <a:cs typeface="Calibri" panose="020F0502020204030204" pitchFamily="34" charset="0"/>
              </a:rPr>
              <a:t>управления продаж МБ Головного отделения </a:t>
            </a:r>
            <a:endParaRPr lang="ru-RU" sz="1600" b="0" kern="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Панова Ольга Михайловна;</a:t>
            </a: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b="0" kern="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-  Специалисты Управления продаж </a:t>
            </a: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МБ и </a:t>
            </a: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Отдела транзакционных продуктов:</a:t>
            </a: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 Старков Артем Александрович;</a:t>
            </a: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kern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   Вихрова Юлия Андреевна.</a:t>
            </a: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kern="0" dirty="0" smtClean="0">
                <a:latin typeface="Arial"/>
              </a:rPr>
              <a:t> </a:t>
            </a:r>
            <a:endParaRPr lang="ru-RU" sz="1600" b="0" kern="0" dirty="0" smtClean="0">
              <a:solidFill>
                <a:srgbClr val="FF0000"/>
              </a:solidFill>
              <a:latin typeface="Arial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b="0" kern="0" dirty="0">
              <a:latin typeface="Arial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b="0" kern="0" dirty="0" smtClean="0">
              <a:latin typeface="Arial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b="0" kern="0" dirty="0">
              <a:latin typeface="Arial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b="0" kern="0" dirty="0">
              <a:latin typeface="Arial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kern="0" dirty="0">
              <a:latin typeface="Arial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rgbClr val="00703C"/>
              </a:solidFill>
              <a:effectLst/>
              <a:uLnTx/>
              <a:uFillTx/>
              <a:latin typeface="Arial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00703C"/>
              </a:solidFill>
              <a:effectLst/>
              <a:uLnTx/>
              <a:uFillTx/>
              <a:latin typeface="Arial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600" b="0" kern="0" dirty="0">
              <a:latin typeface="Arial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rgbClr val="00703C"/>
              </a:solidFill>
              <a:effectLst/>
              <a:uLnTx/>
              <a:uFillTx/>
              <a:latin typeface="Arial"/>
            </a:endParaRPr>
          </a:p>
          <a:p>
            <a:pPr marL="0" marR="0" lvl="0" indent="0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rgbClr val="00703C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6669" y="4731990"/>
            <a:ext cx="207779" cy="342555"/>
          </a:xfrm>
          <a:prstGeom prst="rect">
            <a:avLst/>
          </a:prstGeom>
        </p:spPr>
      </p:pic>
      <p:pic>
        <p:nvPicPr>
          <p:cNvPr id="13" name="Picture 6" descr="X:\Картиночки\для УРаз\pic\other\400_F_18520945_XfH23YKbRRVnnR4wvWnyAoDTtnexwVuJ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104" y="915566"/>
            <a:ext cx="222250" cy="250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352" y="1550034"/>
            <a:ext cx="219075" cy="249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6" descr="X:\Картиночки\для УРаз\pic\other\400_F_18520945_XfH23YKbRRVnnR4wvWnyAoDTtnexwVuJ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844" y="1961678"/>
            <a:ext cx="222250" cy="250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 descr="X:\Картиночки\для УРаз\pic\other\400_F_18520945_XfH23YKbRRVnnR4wvWnyAoDTtnexwVuJ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596" y="2439731"/>
            <a:ext cx="222250" cy="250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256" y="1737634"/>
            <a:ext cx="1331640" cy="140419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27688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 bwMode="auto">
          <a:xfrm>
            <a:off x="144462" y="775097"/>
            <a:ext cx="4198936" cy="517922"/>
          </a:xfrm>
          <a:prstGeom prst="rect">
            <a:avLst/>
          </a:prstGeom>
          <a:gradFill>
            <a:gsLst>
              <a:gs pos="0">
                <a:schemeClr val="accent2">
                  <a:lumMod val="20000"/>
                  <a:lumOff val="80000"/>
                </a:schemeClr>
              </a:gs>
              <a:gs pos="96250">
                <a:schemeClr val="accent2">
                  <a:lumMod val="60000"/>
                  <a:lumOff val="40000"/>
                </a:schemeClr>
              </a:gs>
              <a:gs pos="50000">
                <a:schemeClr val="accent2">
                  <a:lumMod val="40000"/>
                  <a:lumOff val="60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0"/>
          </a:gra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558000" rIns="45720" spcCol="1270"/>
          <a:lstStyle/>
          <a:p>
            <a:pPr algn="l" defTabSz="533400">
              <a:spcAft>
                <a:spcPct val="35000"/>
              </a:spcAft>
              <a:defRPr/>
            </a:pP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Тип гарантийного обязательства (ФЗ №44-ФЗ, ФЗ №223-ФЗ</a:t>
            </a:r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):  </a:t>
            </a:r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Тендерная гарантия 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144460" y="2664321"/>
            <a:ext cx="4198937" cy="514028"/>
          </a:xfrm>
          <a:prstGeom prst="rect">
            <a:avLst/>
          </a:prstGeom>
          <a:gradFill>
            <a:gsLst>
              <a:gs pos="0">
                <a:schemeClr val="accent2">
                  <a:lumMod val="20000"/>
                  <a:lumOff val="80000"/>
                </a:schemeClr>
              </a:gs>
              <a:gs pos="96250">
                <a:schemeClr val="accent2">
                  <a:lumMod val="60000"/>
                  <a:lumOff val="40000"/>
                </a:schemeClr>
              </a:gs>
              <a:gs pos="50000">
                <a:schemeClr val="accent2">
                  <a:lumMod val="40000"/>
                  <a:lumOff val="60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0"/>
          </a:gra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558000" rIns="45720" spcCol="1270"/>
          <a:lstStyle/>
          <a:p>
            <a:pPr marL="0" lvl="1" defTabSz="533400">
              <a:spcAft>
                <a:spcPct val="35000"/>
              </a:spcAft>
              <a:defRPr/>
            </a:pPr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Валюта: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убли РФ</a:t>
            </a:r>
          </a:p>
          <a:p>
            <a:pPr algn="l" defTabSz="533400">
              <a:spcAft>
                <a:spcPct val="35000"/>
              </a:spcAft>
              <a:defRPr/>
            </a:pPr>
            <a:r>
              <a:rPr lang="ru-RU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Срок :  </a:t>
            </a:r>
            <a:r>
              <a:rPr lang="ru-RU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24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мес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27493" y="775188"/>
            <a:ext cx="333686" cy="311489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6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Прямоугольник 16"/>
          <p:cNvSpPr/>
          <p:nvPr/>
        </p:nvSpPr>
        <p:spPr bwMode="auto">
          <a:xfrm>
            <a:off x="144460" y="3241305"/>
            <a:ext cx="4208171" cy="728663"/>
          </a:xfrm>
          <a:prstGeom prst="rect">
            <a:avLst/>
          </a:prstGeom>
          <a:gradFill>
            <a:gsLst>
              <a:gs pos="0">
                <a:schemeClr val="accent2">
                  <a:lumMod val="20000"/>
                  <a:lumOff val="80000"/>
                </a:schemeClr>
              </a:gs>
              <a:gs pos="96250">
                <a:schemeClr val="accent2">
                  <a:lumMod val="60000"/>
                  <a:lumOff val="40000"/>
                </a:schemeClr>
              </a:gs>
              <a:gs pos="50000">
                <a:schemeClr val="accent2">
                  <a:lumMod val="40000"/>
                  <a:lumOff val="60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0"/>
          </a:gra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558000" rIns="45720" spcCol="1270"/>
          <a:lstStyle/>
          <a:p>
            <a:pPr algn="l" defTabSz="533400">
              <a:spcAft>
                <a:spcPct val="35000"/>
              </a:spcAft>
              <a:defRPr/>
            </a:pPr>
            <a:r>
              <a:rPr lang="ru-RU" sz="1200" b="1" dirty="0" smtClean="0"/>
              <a:t>Сумма</a:t>
            </a:r>
            <a:endParaRPr lang="ru-RU" sz="1200" b="1" dirty="0"/>
          </a:p>
          <a:p>
            <a:pPr marL="114300" lvl="1" indent="-114300" algn="l" defTabSz="533400">
              <a:spcAft>
                <a:spcPct val="15000"/>
              </a:spcAft>
              <a:buFontTx/>
              <a:buChar char="••"/>
              <a:defRPr/>
            </a:pPr>
            <a:r>
              <a:rPr lang="ru-RU" sz="1200" dirty="0"/>
              <a:t>Минимальная сумма 50 000 рублей</a:t>
            </a:r>
          </a:p>
          <a:p>
            <a:pPr marL="114300" lvl="1" indent="-114300" algn="l" defTabSz="533400">
              <a:spcAft>
                <a:spcPct val="15000"/>
              </a:spcAft>
              <a:buFontTx/>
              <a:buChar char="••"/>
              <a:defRPr/>
            </a:pPr>
            <a:r>
              <a:rPr lang="ru-RU" sz="1200" dirty="0"/>
              <a:t>Максимальная сумма</a:t>
            </a:r>
            <a:r>
              <a:rPr lang="en-US" sz="1200" dirty="0"/>
              <a:t>*</a:t>
            </a:r>
            <a:r>
              <a:rPr lang="ru-RU" sz="1200" dirty="0"/>
              <a:t> до 4 млн. рублей каждая</a:t>
            </a:r>
          </a:p>
          <a:p>
            <a:pPr marL="0" lvl="1" algn="l" defTabSz="533400">
              <a:spcAft>
                <a:spcPct val="15000"/>
              </a:spcAft>
              <a:defRPr/>
            </a:pPr>
            <a:endParaRPr lang="ru-RU" sz="12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212149" y="2664320"/>
            <a:ext cx="322500" cy="320876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6">
              <a:tint val="50000"/>
              <a:hueOff val="-3715"/>
              <a:satOff val="149"/>
              <a:lumOff val="-577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1" name="Прямоугольник 20"/>
          <p:cNvSpPr/>
          <p:nvPr/>
        </p:nvSpPr>
        <p:spPr bwMode="auto">
          <a:xfrm>
            <a:off x="144461" y="4080522"/>
            <a:ext cx="4208172" cy="651467"/>
          </a:xfrm>
          <a:prstGeom prst="rect">
            <a:avLst/>
          </a:prstGeom>
          <a:gradFill>
            <a:gsLst>
              <a:gs pos="0">
                <a:schemeClr val="accent2">
                  <a:lumMod val="20000"/>
                  <a:lumOff val="80000"/>
                </a:schemeClr>
              </a:gs>
              <a:gs pos="96250">
                <a:schemeClr val="accent2">
                  <a:lumMod val="60000"/>
                  <a:lumOff val="40000"/>
                </a:schemeClr>
              </a:gs>
              <a:gs pos="50000">
                <a:schemeClr val="accent2">
                  <a:lumMod val="40000"/>
                  <a:lumOff val="60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0"/>
          </a:gra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558000" rIns="45720" spcCol="1270"/>
          <a:lstStyle/>
          <a:p>
            <a:pPr algn="l" defTabSz="533400">
              <a:spcAft>
                <a:spcPct val="35000"/>
              </a:spcAft>
              <a:defRPr/>
            </a:pPr>
            <a:r>
              <a:rPr lang="ru-RU" sz="1200" b="1" dirty="0"/>
              <a:t>Обеспечение </a:t>
            </a:r>
          </a:p>
          <a:p>
            <a:pPr algn="l" defTabSz="533400">
              <a:spcAft>
                <a:spcPct val="35000"/>
              </a:spcAft>
              <a:defRPr/>
            </a:pPr>
            <a:r>
              <a:rPr lang="ru-RU" sz="1200" dirty="0"/>
              <a:t>Не требуется</a:t>
            </a:r>
          </a:p>
          <a:p>
            <a:pPr marL="0" lvl="1" algn="l" defTabSz="533400">
              <a:spcAft>
                <a:spcPct val="15000"/>
              </a:spcAft>
              <a:defRPr/>
            </a:pPr>
            <a:endParaRPr lang="ru-RU" sz="1200" b="1" dirty="0"/>
          </a:p>
          <a:p>
            <a:pPr marL="0" lvl="1" algn="l" defTabSz="533400">
              <a:spcAft>
                <a:spcPct val="15000"/>
              </a:spcAft>
              <a:defRPr/>
            </a:pPr>
            <a:endParaRPr lang="ru-RU" sz="12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202483" y="4089854"/>
            <a:ext cx="341831" cy="305453"/>
          </a:xfrm>
          <a:prstGeom prst="rect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6">
              <a:tint val="50000"/>
              <a:hueOff val="-11146"/>
              <a:satOff val="447"/>
              <a:lumOff val="-173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1" name="Скругленный прямоугольник 30"/>
          <p:cNvSpPr/>
          <p:nvPr/>
        </p:nvSpPr>
        <p:spPr>
          <a:xfrm>
            <a:off x="4499992" y="843559"/>
            <a:ext cx="4464496" cy="3847310"/>
          </a:xfrm>
          <a:prstGeom prst="roundRect">
            <a:avLst/>
          </a:prstGeom>
          <a:gradFill>
            <a:gsLst>
              <a:gs pos="0">
                <a:schemeClr val="accent2">
                  <a:lumMod val="20000"/>
                  <a:lumOff val="80000"/>
                </a:schemeClr>
              </a:gs>
              <a:gs pos="96250">
                <a:schemeClr val="accent2">
                  <a:lumMod val="60000"/>
                  <a:lumOff val="40000"/>
                </a:schemeClr>
              </a:gs>
              <a:gs pos="50000">
                <a:schemeClr val="accent2">
                  <a:lumMod val="40000"/>
                  <a:lumOff val="60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0"/>
          </a:gradFill>
          <a:ln w="9525" cap="flat" cmpd="sng" algn="ctr">
            <a:solidFill>
              <a:srgbClr val="2D7534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0" tIns="8890" rIns="10800" bIns="8890" spcCol="1270" anchor="ctr"/>
          <a:lstStyle/>
          <a:p>
            <a:pPr algn="l" defTabSz="622300" fontAlgn="auto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ru-RU" sz="1400" b="1" kern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Плюсы для организации (ИП): </a:t>
            </a:r>
            <a:endParaRPr lang="ru-RU" sz="1400" b="1" kern="0" dirty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 defTabSz="622300" fontAlgn="auto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Font typeface="Wingdings" pitchFamily="2" charset="2"/>
              <a:buChar char="q"/>
              <a:defRPr/>
            </a:pPr>
            <a:r>
              <a:rPr lang="ru-RU" sz="1400" b="1" kern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Финансовый </a:t>
            </a:r>
            <a:r>
              <a:rPr lang="ru-RU" sz="1400" b="1" kern="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ртнер</a:t>
            </a:r>
          </a:p>
          <a:p>
            <a:pPr algn="l" defTabSz="622300" fontAlgn="auto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Font typeface="Wingdings" pitchFamily="2" charset="2"/>
              <a:buChar char="q"/>
              <a:defRPr/>
            </a:pPr>
            <a:r>
              <a:rPr lang="ru-RU" sz="1400" b="1" kern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Экспресс-анализ </a:t>
            </a:r>
            <a:r>
              <a:rPr lang="ru-RU" sz="1400" b="1" kern="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нципала</a:t>
            </a:r>
          </a:p>
          <a:p>
            <a:pPr algn="l" defTabSz="622300" fontAlgn="auto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Font typeface="Wingdings" pitchFamily="2" charset="2"/>
              <a:buChar char="q"/>
              <a:defRPr/>
            </a:pPr>
            <a:r>
              <a:rPr lang="ru-RU" sz="1400" b="1" kern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Без </a:t>
            </a:r>
            <a:r>
              <a:rPr lang="ru-RU" sz="1400" b="1" kern="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мущественного залога</a:t>
            </a:r>
          </a:p>
          <a:p>
            <a:pPr algn="l" defTabSz="622300" fontAlgn="auto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Font typeface="Wingdings" pitchFamily="2" charset="2"/>
              <a:buChar char="q"/>
              <a:defRPr/>
            </a:pPr>
            <a:r>
              <a:rPr lang="ru-RU" sz="1400" b="1" kern="0" dirty="0" smtClean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Минимальный </a:t>
            </a:r>
            <a:r>
              <a:rPr lang="ru-RU" sz="1400" b="1" kern="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ок рассмотрения заявки </a:t>
            </a:r>
          </a:p>
          <a:p>
            <a:pPr algn="l" defTabSz="622300" fontAlgn="auto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defRPr/>
            </a:pPr>
            <a:endParaRPr lang="ru-RU" sz="1400" b="1" kern="0" dirty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 defTabSz="622300" fontAlgn="auto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Font typeface="Wingdings" pitchFamily="2" charset="2"/>
              <a:buChar char="q"/>
              <a:defRPr/>
            </a:pPr>
            <a:endParaRPr lang="ru-RU" sz="1400" b="1" kern="0" dirty="0" smtClean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 defTabSz="622300" fontAlgn="auto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Font typeface="Wingdings" pitchFamily="2" charset="2"/>
              <a:buChar char="q"/>
              <a:defRPr/>
            </a:pPr>
            <a:endParaRPr lang="ru-RU" sz="1400" b="1" kern="0" dirty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 defTabSz="622300" fontAlgn="auto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ru-RU" sz="1400" b="1" kern="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algn="l" defTabSz="622300" fontAlgn="auto">
              <a:lnSpc>
                <a:spcPct val="100000"/>
              </a:lnSpc>
              <a:spcBef>
                <a:spcPts val="0"/>
              </a:spcBef>
              <a:spcAft>
                <a:spcPct val="35000"/>
              </a:spcAft>
              <a:buFont typeface="Wingdings" pitchFamily="2" charset="2"/>
              <a:buChar char="q"/>
              <a:defRPr/>
            </a:pPr>
            <a:endParaRPr lang="ru-RU" sz="1400" b="1" kern="0" dirty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Заголовок 1"/>
          <p:cNvSpPr txBox="1">
            <a:spLocks/>
          </p:cNvSpPr>
          <p:nvPr/>
        </p:nvSpPr>
        <p:spPr bwMode="auto">
          <a:xfrm>
            <a:off x="355600" y="123479"/>
            <a:ext cx="6808688" cy="503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+mj-lt"/>
                <a:ea typeface="+mj-ea"/>
                <a:cs typeface="+mj-cs"/>
              </a:defRPr>
            </a:lvl1pPr>
            <a:lvl2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2pPr>
            <a:lvl3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3pPr>
            <a:lvl4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4pPr>
            <a:lvl5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5pPr>
            <a:lvl6pPr marL="457200" algn="l" defTabSz="912813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6pPr>
            <a:lvl7pPr marL="914400" algn="l" defTabSz="912813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7pPr>
            <a:lvl8pPr marL="1371600" algn="l" defTabSz="912813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8pPr>
            <a:lvl9pPr marL="1828800" algn="l" defTabSz="912813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9pPr>
          </a:lstStyle>
          <a:p>
            <a:pPr>
              <a:defRPr/>
            </a:pP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Кредитные продукты: Особенности предоставления тендерной </a:t>
            </a: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гарантии и гарантии исполнения обязательств </a:t>
            </a: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в рамках продукта «Бизнес-Гарантия»</a:t>
            </a: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913" name="Прямоугольник 4"/>
          <p:cNvSpPr>
            <a:spLocks noChangeArrowheads="1"/>
          </p:cNvSpPr>
          <p:nvPr/>
        </p:nvSpPr>
        <p:spPr bwMode="auto">
          <a:xfrm>
            <a:off x="14288" y="4947048"/>
            <a:ext cx="60706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/>
            <a:r>
              <a:rPr lang="ru-RU" altLang="ru-RU" sz="900" i="1" dirty="0"/>
              <a:t>* Сумма гарантии дополнительно ограничена платежеспособностью Принципала</a:t>
            </a: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144461" y="1981765"/>
            <a:ext cx="4208171" cy="554376"/>
          </a:xfrm>
          <a:prstGeom prst="rect">
            <a:avLst/>
          </a:prstGeom>
          <a:gradFill>
            <a:gsLst>
              <a:gs pos="0">
                <a:schemeClr val="accent2">
                  <a:lumMod val="20000"/>
                  <a:lumOff val="80000"/>
                </a:schemeClr>
              </a:gs>
              <a:gs pos="96250">
                <a:schemeClr val="accent2">
                  <a:lumMod val="60000"/>
                  <a:lumOff val="40000"/>
                </a:schemeClr>
              </a:gs>
              <a:gs pos="50000">
                <a:schemeClr val="accent2">
                  <a:lumMod val="40000"/>
                  <a:lumOff val="60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0"/>
          </a:gra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8" name="Прямоугольник 27"/>
          <p:cNvSpPr/>
          <p:nvPr/>
        </p:nvSpPr>
        <p:spPr>
          <a:xfrm>
            <a:off x="241548" y="2002844"/>
            <a:ext cx="333686" cy="311489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6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TextBox 2"/>
          <p:cNvSpPr txBox="1"/>
          <p:nvPr/>
        </p:nvSpPr>
        <p:spPr>
          <a:xfrm>
            <a:off x="547688" y="1970485"/>
            <a:ext cx="2780633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l">
              <a:defRPr/>
            </a:pPr>
            <a:r>
              <a:rPr lang="ru-RU" sz="1400" b="1" dirty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енефициары</a:t>
            </a:r>
            <a:r>
              <a:rPr lang="ru-RU" sz="1400" b="1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ru-RU" sz="140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сударственные, </a:t>
            </a:r>
          </a:p>
          <a:p>
            <a:pPr algn="l">
              <a:defRPr/>
            </a:pPr>
            <a:r>
              <a:rPr lang="ru-RU" sz="140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униципальные</a:t>
            </a:r>
            <a:r>
              <a:rPr lang="ru-RU" sz="1400" dirty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140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ные </a:t>
            </a:r>
            <a:r>
              <a:rPr lang="ru-RU" sz="1400" dirty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азчики</a:t>
            </a:r>
          </a:p>
        </p:txBody>
      </p:sp>
      <p:sp>
        <p:nvSpPr>
          <p:cNvPr id="37" name="Прямоугольник 36"/>
          <p:cNvSpPr/>
          <p:nvPr/>
        </p:nvSpPr>
        <p:spPr bwMode="auto">
          <a:xfrm>
            <a:off x="144462" y="1370893"/>
            <a:ext cx="4198936" cy="517922"/>
          </a:xfrm>
          <a:prstGeom prst="rect">
            <a:avLst/>
          </a:prstGeom>
          <a:gradFill>
            <a:gsLst>
              <a:gs pos="0">
                <a:schemeClr val="accent2">
                  <a:lumMod val="20000"/>
                  <a:lumOff val="80000"/>
                </a:schemeClr>
              </a:gs>
              <a:gs pos="96250">
                <a:schemeClr val="accent2">
                  <a:lumMod val="60000"/>
                  <a:lumOff val="40000"/>
                </a:schemeClr>
              </a:gs>
              <a:gs pos="50000">
                <a:schemeClr val="accent2">
                  <a:lumMod val="40000"/>
                  <a:lumOff val="60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5400000" scaled="0"/>
          </a:gra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558000" rIns="45720" spcCol="1270"/>
          <a:lstStyle/>
          <a:p>
            <a:pPr algn="l" defTabSz="533400">
              <a:spcAft>
                <a:spcPct val="35000"/>
              </a:spcAft>
              <a:defRPr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229655" y="1408632"/>
            <a:ext cx="333686" cy="311489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6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8" name="TextBox 37"/>
          <p:cNvSpPr txBox="1"/>
          <p:nvPr/>
        </p:nvSpPr>
        <p:spPr>
          <a:xfrm>
            <a:off x="677863" y="1399865"/>
            <a:ext cx="2792175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l" defTabSz="533400">
              <a:spcAft>
                <a:spcPct val="35000"/>
              </a:spcAft>
              <a:defRPr/>
            </a:pPr>
            <a:r>
              <a:rPr lang="ru-RU" sz="1400" b="1" dirty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нципал </a:t>
            </a:r>
            <a:r>
              <a:rPr lang="ru-RU" sz="1400" dirty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</a:t>
            </a:r>
            <a:r>
              <a:rPr lang="ru-RU" sz="1400" b="1" dirty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dirty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ЮЛ, </a:t>
            </a:r>
            <a:r>
              <a:rPr lang="ru-RU" sz="1400" dirty="0" smtClean="0">
                <a:solidFill>
                  <a:schemeClr val="dk1">
                    <a:hueOff val="0"/>
                    <a:satOff val="0"/>
                    <a:lumOff val="0"/>
                    <a:alphaOff val="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П (кроме КФХ)</a:t>
            </a:r>
            <a:endParaRPr lang="ru-RU" sz="1400" b="1" u="sng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02483" y="3245549"/>
            <a:ext cx="341825" cy="301652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6">
              <a:tint val="50000"/>
              <a:hueOff val="-7430"/>
              <a:satOff val="298"/>
              <a:lumOff val="-1153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39" name="Рисунок 38" descr="https://encrypted-tbn0.gstatic.com/images?q=tbn:ANd9GcRJzqMyLoFg7qRAfiNITPz2Mg3Eho3zPxZJGCUVPfUpYWOJo77O"/>
          <p:cNvPicPr/>
          <p:nvPr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846298"/>
            <a:ext cx="670942" cy="707455"/>
          </a:xfrm>
          <a:prstGeom prst="rect">
            <a:avLst/>
          </a:prstGeom>
          <a:noFill/>
          <a:ln>
            <a:noFill/>
          </a:ln>
        </p:spPr>
      </p:pic>
      <p:pic>
        <p:nvPicPr>
          <p:cNvPr id="40" name="Рисунок 6" descr="http://lacucaracha4ltrophy.free.fr/pictures/Partenaires.pn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377697" y="2820442"/>
            <a:ext cx="2571750" cy="2357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48793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1"/>
          <p:cNvSpPr txBox="1">
            <a:spLocks/>
          </p:cNvSpPr>
          <p:nvPr/>
        </p:nvSpPr>
        <p:spPr bwMode="auto">
          <a:xfrm>
            <a:off x="107504" y="78581"/>
            <a:ext cx="7128792" cy="548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rmAutofit fontScale="90000" lnSpcReduction="20000"/>
          </a:bodyPr>
          <a:lstStyle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+mj-lt"/>
                <a:ea typeface="+mj-ea"/>
                <a:cs typeface="+mj-cs"/>
              </a:defRPr>
            </a:lvl1pPr>
            <a:lvl2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2pPr>
            <a:lvl3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3pPr>
            <a:lvl4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4pPr>
            <a:lvl5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5pPr>
            <a:lvl6pPr marL="457200" algn="l" defTabSz="912813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6pPr>
            <a:lvl7pPr marL="914400" algn="l" defTabSz="912813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7pPr>
            <a:lvl8pPr marL="1371600" algn="l" defTabSz="912813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8pPr>
            <a:lvl9pPr marL="1828800" algn="l" defTabSz="912813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9pPr>
          </a:lstStyle>
          <a:p>
            <a:pPr algn="just">
              <a:lnSpc>
                <a:spcPct val="90000"/>
              </a:lnSpc>
              <a:defRPr/>
            </a:pPr>
            <a:endParaRPr lang="ru-RU" sz="16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90000"/>
              </a:lnSpc>
              <a:defRPr/>
            </a:pP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Кредитные продукты: Основные нововведения при  </a:t>
            </a:r>
          </a:p>
          <a:p>
            <a:pPr algn="just">
              <a:lnSpc>
                <a:spcPct val="90000"/>
              </a:lnSpc>
              <a:defRPr/>
            </a:pPr>
            <a:r>
              <a:rPr 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кредитовании         клиентов СМП</a:t>
            </a:r>
            <a:endParaRPr 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90000"/>
              </a:lnSpc>
              <a:defRPr/>
            </a:pPr>
            <a:endParaRPr lang="ru-RU" sz="1600" dirty="0"/>
          </a:p>
        </p:txBody>
      </p:sp>
      <p:cxnSp>
        <p:nvCxnSpPr>
          <p:cNvPr id="16" name="Прямая соединительная линия 15"/>
          <p:cNvCxnSpPr/>
          <p:nvPr/>
        </p:nvCxnSpPr>
        <p:spPr bwMode="auto">
          <a:xfrm>
            <a:off x="414338" y="5001816"/>
            <a:ext cx="8637587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Пятиугольник 11"/>
          <p:cNvSpPr/>
          <p:nvPr/>
        </p:nvSpPr>
        <p:spPr bwMode="auto">
          <a:xfrm>
            <a:off x="250825" y="755835"/>
            <a:ext cx="4657705" cy="3100882"/>
          </a:xfrm>
          <a:prstGeom prst="homePlate">
            <a:avLst>
              <a:gd name="adj" fmla="val 0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2400" tIns="8255" rIns="0" bIns="8255" spcCol="1270" anchor="ctr"/>
          <a:lstStyle/>
          <a:p>
            <a:pPr defTabSz="577850">
              <a:spcAft>
                <a:spcPct val="35000"/>
              </a:spcAft>
              <a:defRPr/>
            </a:pPr>
            <a:endParaRPr lang="ru-RU" sz="1400" b="1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577850">
              <a:spcAft>
                <a:spcPct val="35000"/>
              </a:spcAft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defTabSz="577850">
              <a:spcAft>
                <a:spcPct val="35000"/>
              </a:spcAft>
              <a:defRPr/>
            </a:pPr>
            <a:endParaRPr lang="ru-RU" sz="1400" b="1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577850">
              <a:spcAft>
                <a:spcPct val="35000"/>
              </a:spcAft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Кредитование  </a:t>
            </a:r>
            <a:r>
              <a:rPr lang="ru-RU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овых видов деятельности</a:t>
            </a:r>
            <a:r>
              <a:rPr lang="ru-RU" sz="1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</a:p>
          <a:p>
            <a:pPr marL="285750" indent="-285750" defTabSz="577850"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частные </a:t>
            </a:r>
            <a:r>
              <a:rPr lang="ru-RU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коммерческие организации, предоставляющие услуги в области образования и </a:t>
            </a:r>
            <a:r>
              <a:rPr lang="ru-RU" sz="14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дравоохранения</a:t>
            </a:r>
            <a:endParaRPr lang="ru-RU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defTabSz="577850"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ребительские общества (ФЗ «О потребительской кооперации» №3085-1 от 19.06.92г.)</a:t>
            </a:r>
          </a:p>
          <a:p>
            <a:pPr marL="285750" indent="-285750" defTabSz="577850"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льскохозяйственные потребительские кооперативы (ФЗ «О сельскохозяйственной кооперации» №193-ФЗ от 08.12.95г</a:t>
            </a:r>
            <a:r>
              <a:rPr lang="ru-RU" sz="14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5750" indent="-285750" defTabSz="577850"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едитование Заемщиков, у которых доля выручки КГ от ломбардного бизнеса за последние 3 месяца не превышает 10% совокупной выручки. Заемщик не ведет ломбардный бизнес.</a:t>
            </a:r>
          </a:p>
          <a:p>
            <a:pPr marL="285750" indent="-285750" defTabSz="577850"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endParaRPr lang="ru-RU" sz="14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ctr" defTabSz="5778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v"/>
              <a:defRPr/>
            </a:pPr>
            <a:endParaRPr lang="ru-RU" sz="14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defTabSz="577850"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endParaRPr lang="ru-RU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Пятиугольник 12"/>
          <p:cNvSpPr/>
          <p:nvPr/>
        </p:nvSpPr>
        <p:spPr bwMode="auto">
          <a:xfrm>
            <a:off x="5004048" y="755835"/>
            <a:ext cx="3960440" cy="3088286"/>
          </a:xfrm>
          <a:prstGeom prst="homePlate">
            <a:avLst>
              <a:gd name="adj" fmla="val 0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2400" tIns="8255" rIns="0" bIns="8255" spcCol="1270" anchor="ctr"/>
          <a:lstStyle/>
          <a:p>
            <a:pPr algn="ctr" defTabSz="5778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овые цели кредитования</a:t>
            </a:r>
            <a:r>
              <a:rPr lang="ru-RU" sz="1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285750" indent="-285750" defTabSz="5778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инансирование кредитов и лимитов кредитных линий на </a:t>
            </a: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полнение </a:t>
            </a: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оротных средств, инвестиционные цели. </a:t>
            </a:r>
            <a:endParaRPr lang="ru-RU" sz="1400" dirty="0" smtClean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defTabSz="5778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инансирование </a:t>
            </a: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олженности по договору лизинга (с отсрочкой оформления залога движимого имущества)</a:t>
            </a:r>
          </a:p>
          <a:p>
            <a:pPr marL="285750" indent="-285750" defTabSz="5778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купка нетелей для Заемщиков, осуществляющих сельскохозяйственную деятельность</a:t>
            </a:r>
          </a:p>
          <a:p>
            <a:pPr marL="285750" indent="-285750" defTabSz="5778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едитование сельхозпроизводителей под залог будущего урожая сельскохозяйственных культур </a:t>
            </a:r>
          </a:p>
          <a:p>
            <a:pPr marL="285750" indent="-285750" algn="ctr" defTabSz="5778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v"/>
              <a:defRPr/>
            </a:pPr>
            <a:endParaRPr lang="ru-RU" sz="14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Пятиугольник 16"/>
          <p:cNvSpPr/>
          <p:nvPr/>
        </p:nvSpPr>
        <p:spPr bwMode="auto">
          <a:xfrm>
            <a:off x="250825" y="4011910"/>
            <a:ext cx="8713663" cy="1020807"/>
          </a:xfrm>
          <a:prstGeom prst="homePlate">
            <a:avLst>
              <a:gd name="adj" fmla="val 0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2400" tIns="8255" rIns="0" bIns="8255" spcCol="1270" anchor="ctr"/>
          <a:lstStyle/>
          <a:p>
            <a:pPr algn="ctr" defTabSz="5778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ru-RU" sz="14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5778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зможность </a:t>
            </a:r>
            <a:r>
              <a:rPr lang="ru-RU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становления необеспеченной части* по всем текущим кредитам с учетом </a:t>
            </a:r>
            <a:r>
              <a:rPr lang="ru-RU" sz="1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ыдаваемого:</a:t>
            </a:r>
          </a:p>
          <a:p>
            <a:pPr marL="285750" lvl="0" indent="-285750" algn="ctr" defTabSz="5778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Клиенты с выручкой свыше 150 млн. руб.- </a:t>
            </a:r>
            <a:r>
              <a:rPr lang="ru-RU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 40% ( до 40 млн. руб</a:t>
            </a:r>
            <a: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)</a:t>
            </a:r>
          </a:p>
          <a:p>
            <a:pPr marL="285750" indent="-285750" algn="ctr" defTabSz="5778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лиенты с  выручкой менее 150 млн. руб. -</a:t>
            </a:r>
            <a: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 35% </a:t>
            </a:r>
            <a:r>
              <a:rPr lang="ru-RU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 до </a:t>
            </a:r>
            <a: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5 </a:t>
            </a:r>
            <a:r>
              <a:rPr lang="ru-RU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лн. руб</a:t>
            </a:r>
            <a: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)</a:t>
            </a:r>
          </a:p>
          <a:p>
            <a:pPr defTabSz="5778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 </a:t>
            </a:r>
            <a:r>
              <a:rPr lang="ru-RU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зависимости от финансовой устойчивости</a:t>
            </a:r>
            <a:endParaRPr lang="ru-RU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algn="ctr" defTabSz="5778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ru-RU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6799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1"/>
          <p:cNvSpPr txBox="1">
            <a:spLocks/>
          </p:cNvSpPr>
          <p:nvPr/>
        </p:nvSpPr>
        <p:spPr bwMode="auto">
          <a:xfrm>
            <a:off x="355600" y="195486"/>
            <a:ext cx="6364288" cy="43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+mj-lt"/>
                <a:ea typeface="+mj-ea"/>
                <a:cs typeface="+mj-cs"/>
              </a:defRPr>
            </a:lvl1pPr>
            <a:lvl2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2pPr>
            <a:lvl3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3pPr>
            <a:lvl4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4pPr>
            <a:lvl5pPr algn="l" defTabSz="912813" rtl="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5pPr>
            <a:lvl6pPr marL="457200" algn="l" defTabSz="912813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6pPr>
            <a:lvl7pPr marL="914400" algn="l" defTabSz="912813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7pPr>
            <a:lvl8pPr marL="1371600" algn="l" defTabSz="912813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8pPr>
            <a:lvl9pPr marL="1828800" algn="l" defTabSz="912813" rtl="0" fontAlgn="base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2D7534"/>
                </a:solidFill>
                <a:latin typeface="Tahoma" pitchFamily="34" charset="0"/>
              </a:defRPr>
            </a:lvl9pPr>
          </a:lstStyle>
          <a:p>
            <a:pPr algn="just">
              <a:lnSpc>
                <a:spcPct val="90000"/>
              </a:lnSpc>
              <a:defRPr/>
            </a:pP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Кредитные продукты: Новые решения для 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клиентов </a:t>
            </a: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СМП.</a:t>
            </a:r>
          </a:p>
          <a:p>
            <a:pPr algn="just">
              <a:lnSpc>
                <a:spcPct val="90000"/>
              </a:lnSpc>
              <a:defRPr/>
            </a:pP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К</a:t>
            </a: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редитование под залог будущего урожая</a:t>
            </a: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Пятиугольник 7"/>
          <p:cNvSpPr/>
          <p:nvPr/>
        </p:nvSpPr>
        <p:spPr bwMode="auto">
          <a:xfrm>
            <a:off x="2911114" y="778793"/>
            <a:ext cx="3024337" cy="280070"/>
          </a:xfrm>
          <a:prstGeom prst="homePlate">
            <a:avLst>
              <a:gd name="adj" fmla="val 0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2400" tIns="8255" rIns="0" bIns="8255" spcCol="1270" anchor="ctr"/>
          <a:lstStyle/>
          <a:p>
            <a:pPr algn="ctr" defTabSz="5778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ребования к Заемщику:</a:t>
            </a:r>
            <a:endParaRPr lang="ru-RU" sz="14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Пятиугольник 9"/>
          <p:cNvSpPr/>
          <p:nvPr/>
        </p:nvSpPr>
        <p:spPr bwMode="auto">
          <a:xfrm>
            <a:off x="177869" y="1104607"/>
            <a:ext cx="8856984" cy="936104"/>
          </a:xfrm>
          <a:prstGeom prst="homePlate">
            <a:avLst>
              <a:gd name="adj" fmla="val 0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2400" tIns="8255" rIns="0" bIns="8255" spcCol="1270" anchor="ctr"/>
          <a:lstStyle/>
          <a:p>
            <a:pPr marL="171450" indent="-171450" algn="ctr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емщик - </a:t>
            </a: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льхозпроизводитель</a:t>
            </a:r>
            <a:endParaRPr lang="ru-RU" sz="1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ctr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хорошее финансовое положение</a:t>
            </a:r>
          </a:p>
          <a:p>
            <a:pPr marL="171450" indent="-171450" algn="ctr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ложительный опыт проведения с/х работ</a:t>
            </a:r>
          </a:p>
          <a:p>
            <a:pPr marL="171450" indent="-171450" algn="ctr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ладеет земельным участком на правах собственности или аренды на срок, превышающий не менее чем на  60 дней срок </a:t>
            </a: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едита</a:t>
            </a:r>
            <a:endParaRPr lang="ru-RU" sz="1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Пятиугольник 12"/>
          <p:cNvSpPr/>
          <p:nvPr/>
        </p:nvSpPr>
        <p:spPr bwMode="auto">
          <a:xfrm>
            <a:off x="2923755" y="2139950"/>
            <a:ext cx="3024337" cy="282866"/>
          </a:xfrm>
          <a:prstGeom prst="homePlate">
            <a:avLst>
              <a:gd name="adj" fmla="val 0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2400" tIns="8255" rIns="0" bIns="8255" spcCol="1270" anchor="ctr"/>
          <a:lstStyle/>
          <a:p>
            <a:pPr algn="ctr" defTabSz="57785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словия кредитования:</a:t>
            </a:r>
            <a:endParaRPr lang="ru-RU" sz="14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Пятиугольник 13"/>
          <p:cNvSpPr/>
          <p:nvPr/>
        </p:nvSpPr>
        <p:spPr bwMode="auto">
          <a:xfrm>
            <a:off x="176226" y="2500313"/>
            <a:ext cx="8858627" cy="2520280"/>
          </a:xfrm>
          <a:prstGeom prst="homePlate">
            <a:avLst>
              <a:gd name="adj" fmla="val 0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2400" tIns="8255" rIns="0" bIns="8255" spcCol="1270" anchor="ctr"/>
          <a:lstStyle/>
          <a:p>
            <a:pPr marL="285750" indent="-285750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Ø"/>
              <a:defRPr/>
            </a:pPr>
            <a:endParaRPr lang="ru-RU" sz="1200" b="1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ru-RU" sz="1200" b="1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Ø"/>
              <a:defRPr/>
            </a:pPr>
            <a:endParaRPr lang="ru-RU" sz="12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defTabSz="622300" fontAlgn="base">
              <a:lnSpc>
                <a:spcPct val="8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Ø"/>
              <a:defRPr/>
            </a:pPr>
            <a:r>
              <a:rPr lang="ru-RU" sz="12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Цель :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уп удобрений, средств защиты </a:t>
            </a: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СМ, з/ч + материалы для ремонта с/х техники и др. цели для выращивания с/х культур</a:t>
            </a:r>
          </a:p>
          <a:p>
            <a:pPr marL="285750" indent="-285750" defTabSz="622300" fontAlgn="base">
              <a:lnSpc>
                <a:spcPct val="8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Ø"/>
              <a:defRPr/>
            </a:pPr>
            <a:r>
              <a:rPr lang="ru-RU" sz="12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алюта кредита: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убли РФ</a:t>
            </a:r>
          </a:p>
          <a:p>
            <a:pPr marL="285750" indent="-285750" defTabSz="622300" fontAlgn="base">
              <a:lnSpc>
                <a:spcPct val="8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Ø"/>
              <a:defRPr/>
            </a:pPr>
            <a:r>
              <a:rPr lang="ru-RU" sz="12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ок: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 18 месяцев</a:t>
            </a:r>
            <a:endParaRPr lang="ru-RU" sz="12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defTabSz="622300" fontAlgn="base">
              <a:lnSpc>
                <a:spcPct val="8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Ø"/>
              <a:tabLst>
                <a:tab pos="271463" algn="l"/>
              </a:tabLst>
              <a:defRPr/>
            </a:pPr>
            <a:r>
              <a:rPr lang="ru-RU" sz="12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ериод доступности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по согласованию, максимальная </a:t>
            </a:r>
            <a:r>
              <a:rPr lang="ru-RU" sz="12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срочка погашения основного долга: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 </a:t>
            </a: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сяцев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при сроке кредита до 12 мес.), 12 месяцев (при сроке кредита до 18 мес</a:t>
            </a: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)</a:t>
            </a:r>
          </a:p>
          <a:p>
            <a:pPr marL="171450" indent="-171450" defTabSz="622300" fontAlgn="base">
              <a:lnSpc>
                <a:spcPct val="8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Ø"/>
              <a:defRPr/>
            </a:pPr>
            <a:r>
              <a:rPr lang="ru-RU" sz="12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Требования </a:t>
            </a:r>
            <a:r>
              <a:rPr lang="ru-RU" sz="1200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 залогу:        Заемщик </a:t>
            </a:r>
            <a:r>
              <a:rPr lang="ru-RU" sz="12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логодатель будущего урожая с/х </a:t>
            </a: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ультур (Возделывание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/х культуры в регионе в течение </a:t>
            </a: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последних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 </a:t>
            </a: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ет)</a:t>
            </a:r>
            <a:endParaRPr lang="ru-RU" sz="1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622300" fontAlgn="base">
              <a:lnSpc>
                <a:spcPct val="8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   Отсрочка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формления залога не предоставляется</a:t>
            </a:r>
          </a:p>
          <a:p>
            <a:pPr marL="171450" indent="-171450" defTabSz="622300" fontAlgn="base">
              <a:lnSpc>
                <a:spcPct val="80000"/>
              </a:lnSpc>
              <a:spcBef>
                <a:spcPct val="0"/>
              </a:spcBef>
              <a:spcAft>
                <a:spcPct val="35000"/>
              </a:spcAft>
              <a:buFontTx/>
              <a:buChar char="-"/>
              <a:defRPr/>
            </a:pP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 снижении количественных и качественных  показателей залога с/х культур – залог иного имущества</a:t>
            </a:r>
          </a:p>
          <a:p>
            <a:pPr marL="171450" indent="-171450" defTabSz="622300" fontAlgn="base">
              <a:lnSpc>
                <a:spcPct val="80000"/>
              </a:lnSpc>
              <a:spcBef>
                <a:spcPct val="0"/>
              </a:spcBef>
              <a:spcAft>
                <a:spcPct val="35000"/>
              </a:spcAft>
              <a:buFontTx/>
              <a:buChar char="-"/>
              <a:defRPr/>
            </a:pP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язательное страхование будущего урожая с/х культур (рост, вызревание, уборка, перевозка, хранение</a:t>
            </a:r>
            <a:r>
              <a:rPr lang="ru-RU" sz="12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285750" indent="-285750" defTabSz="622300" fontAlgn="base">
              <a:lnSpc>
                <a:spcPct val="8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Ø"/>
              <a:tabLst>
                <a:tab pos="271463" algn="l"/>
              </a:tabLst>
              <a:defRPr/>
            </a:pPr>
            <a:r>
              <a:rPr lang="ru-RU" sz="12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орма предоставления:</a:t>
            </a: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едит, НКЛ, РКЛ</a:t>
            </a:r>
          </a:p>
          <a:p>
            <a:pPr marL="285750" indent="-285750" defTabSz="622300" fontAlgn="base">
              <a:lnSpc>
                <a:spcPct val="8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Ø"/>
              <a:tabLst>
                <a:tab pos="271463" algn="l"/>
              </a:tabLst>
              <a:defRPr/>
            </a:pPr>
            <a:r>
              <a:rPr lang="ru-RU" sz="12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рафик погашения: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инхронизирован со сроками уборки и реализации урожая</a:t>
            </a:r>
          </a:p>
          <a:p>
            <a:pPr marL="171450" indent="-171450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Tx/>
              <a:buChar char="-"/>
              <a:defRPr/>
            </a:pPr>
            <a:endParaRPr lang="ru-RU" sz="120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Tx/>
              <a:buChar char="-"/>
              <a:defRPr/>
            </a:pPr>
            <a:endParaRPr lang="ru-RU" sz="1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Ø"/>
              <a:tabLst>
                <a:tab pos="271463" algn="l"/>
              </a:tabLst>
              <a:defRPr/>
            </a:pPr>
            <a:endParaRPr lang="ru-RU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250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912" y="195902"/>
            <a:ext cx="1785841" cy="460862"/>
          </a:xfrm>
          <a:prstGeom prst="rect">
            <a:avLst/>
          </a:prstGeom>
        </p:spPr>
      </p:pic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50032" y="4885506"/>
            <a:ext cx="2133600" cy="274637"/>
          </a:xfrm>
        </p:spPr>
        <p:txBody>
          <a:bodyPr/>
          <a:lstStyle/>
          <a:p>
            <a:fld id="{5B7E7DCD-C0EE-423A-BF93-9D3D62B97076}" type="slidenum">
              <a:rPr lang="ru-RU" b="1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</a:rPr>
              <a:pPr/>
              <a:t>6</a:t>
            </a:fld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Print" panose="02000600000000000000" pitchFamily="2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1754" y="4748931"/>
            <a:ext cx="207779" cy="342555"/>
          </a:xfrm>
          <a:prstGeom prst="rect">
            <a:avLst/>
          </a:prstGeom>
        </p:spPr>
      </p:pic>
      <p:pic>
        <p:nvPicPr>
          <p:cNvPr id="14" name="Picture 19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98148" l="459" r="100000">
                        <a14:foregroundMark x1="57339" y1="5556" x2="59633" y2="12037"/>
                        <a14:foregroundMark x1="77982" y1="61111" x2="77982" y2="61111"/>
                        <a14:backgroundMark x1="77982" y1="84259" x2="89908" y2="96759"/>
                      </a14:backgroundRemoval>
                    </a14:imgEffect>
                    <a14:imgEffect>
                      <a14:sharpenSoften amount="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7797"/>
          <a:stretch/>
        </p:blipFill>
        <p:spPr bwMode="auto">
          <a:xfrm>
            <a:off x="7455969" y="3352769"/>
            <a:ext cx="1429674" cy="1541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>
          <a:xfrm>
            <a:off x="685800" y="195903"/>
            <a:ext cx="6538112" cy="540506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16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kern="12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Некредитные</a:t>
            </a:r>
            <a:r>
              <a:rPr lang="ru-RU" sz="1600" kern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ru-RU" sz="1600" kern="1200" dirty="0">
                <a:latin typeface="Calibri" panose="020F0502020204030204" pitchFamily="34" charset="0"/>
                <a:cs typeface="Calibri" panose="020F0502020204030204" pitchFamily="34" charset="0"/>
              </a:rPr>
              <a:t>продукты: СФЕРА Отчетность</a:t>
            </a: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74712" y="771550"/>
            <a:ext cx="940905" cy="100811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2" name="Прямоугольник 1"/>
          <p:cNvSpPr/>
          <p:nvPr/>
        </p:nvSpPr>
        <p:spPr>
          <a:xfrm>
            <a:off x="1259632" y="771550"/>
            <a:ext cx="65201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ФЕРА Отчетность – </a:t>
            </a:r>
            <a:r>
              <a:rPr lang="ru-RU" sz="1600" i="1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о сервис юридически значимого электронного документооборота, при помощи которого вы сможете: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55576" y="1694880"/>
            <a:ext cx="7451065" cy="324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600" b="1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ставлять </a:t>
            </a:r>
            <a:r>
              <a:rPr lang="ru-RU" sz="1600" b="1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четность </a:t>
            </a: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ФНС, ПФР, ФСС, РОССТАТ</a:t>
            </a:r>
          </a:p>
          <a:p>
            <a:pPr marL="171450" indent="-17145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600" b="1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правлять </a:t>
            </a:r>
            <a:r>
              <a:rPr lang="ru-RU" sz="1600" b="1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формализованные обращения </a:t>
            </a: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осуществлять переписку с инспектором, не выходя из офиса)</a:t>
            </a:r>
          </a:p>
          <a:p>
            <a:pPr marL="171450" indent="-17145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600" b="1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лучать </a:t>
            </a:r>
            <a:r>
              <a:rPr lang="ru-RU" sz="1600" b="1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юбую справочную информацию </a:t>
            </a: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выписки о состоянии расчетов с бюджетом, кодах бюджетной классификации и </a:t>
            </a:r>
            <a:r>
              <a:rPr lang="ru-RU" sz="1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.д.</a:t>
            </a:r>
          </a:p>
          <a:p>
            <a:pPr marL="171450" indent="-17145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600" b="1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рганизовать </a:t>
            </a:r>
            <a:r>
              <a:rPr lang="ru-RU" sz="1600" b="1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бственный </a:t>
            </a: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строенный </a:t>
            </a:r>
            <a:r>
              <a:rPr lang="ru-RU" sz="1600" b="1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рхив</a:t>
            </a: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кументов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 b="1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зволяет</a:t>
            </a:r>
            <a:r>
              <a:rPr lang="ru-RU" sz="1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1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правлять файлы, созданные </a:t>
            </a:r>
            <a:r>
              <a:rPr lang="ru-RU" sz="1600" b="1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</a:t>
            </a:r>
            <a:r>
              <a:rPr lang="ru-RU" sz="1600" b="1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юбых программах </a:t>
            </a: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 подготовке отчетов: 1C, Налогоплательщик и т.п.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 b="1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хватывает </a:t>
            </a:r>
            <a:r>
              <a:rPr lang="ru-RU" sz="1600" b="1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сю Россию </a:t>
            </a: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получить ЭЦП </a:t>
            </a:r>
            <a:r>
              <a:rPr lang="ru-RU" sz="1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</a:t>
            </a: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рвиса можно в любом отделении Сбербанка, а не только в </a:t>
            </a:r>
            <a:r>
              <a:rPr lang="ru-RU" sz="1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достоверяющих </a:t>
            </a: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центрах</a:t>
            </a:r>
            <a:r>
              <a:rPr lang="ru-RU" sz="1600" b="1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sz="1600" dirty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1461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3198" y="3088208"/>
            <a:ext cx="1882568" cy="205831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676426" y="4817393"/>
            <a:ext cx="2133600" cy="274637"/>
          </a:xfrm>
        </p:spPr>
        <p:txBody>
          <a:bodyPr/>
          <a:lstStyle/>
          <a:p>
            <a:fld id="{5B7E7DCD-C0EE-423A-BF93-9D3D62B97076}" type="slidenum">
              <a:rPr lang="ru-RU" b="1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</a:rPr>
              <a:pPr/>
              <a:t>7</a:t>
            </a:fld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Print" panose="02000600000000000000" pitchFamily="2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6669" y="4731990"/>
            <a:ext cx="207779" cy="342555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539552" y="203126"/>
            <a:ext cx="6912768" cy="432047"/>
          </a:xfrm>
        </p:spPr>
        <p:txBody>
          <a:bodyPr>
            <a:noAutofit/>
          </a:bodyPr>
          <a:lstStyle/>
          <a:p>
            <a:r>
              <a:rPr lang="ru-RU" sz="1600" kern="1200" dirty="0" err="1">
                <a:latin typeface="Calibri" panose="020F0502020204030204" pitchFamily="34" charset="0"/>
                <a:cs typeface="Calibri" panose="020F0502020204030204" pitchFamily="34" charset="0"/>
              </a:rPr>
              <a:t>Некредитные</a:t>
            </a:r>
            <a:r>
              <a:rPr lang="ru-RU" sz="1600" kern="1200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ru-RU" sz="1600" kern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дукты: </a:t>
            </a:r>
            <a:r>
              <a:rPr lang="en-US" sz="1600" kern="1200" dirty="0">
                <a:latin typeface="Calibri" panose="020F0502020204030204" pitchFamily="34" charset="0"/>
                <a:cs typeface="Calibri" panose="020F0502020204030204" pitchFamily="34" charset="0"/>
              </a:rPr>
              <a:t>EDI – </a:t>
            </a:r>
            <a:r>
              <a:rPr lang="ru-RU" sz="1600" kern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электронный обмен данными между партнерами</a:t>
            </a:r>
            <a:endParaRPr lang="ru-RU" sz="1600" kern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50825" y="678577"/>
            <a:ext cx="856964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endParaRPr lang="ru-RU" sz="1600" b="1" u="sng" dirty="0" smtClean="0">
              <a:solidFill>
                <a:srgbClr val="00703C"/>
              </a:solidFill>
              <a:latin typeface="Arial"/>
              <a:cs typeface="Arial"/>
            </a:endParaRPr>
          </a:p>
          <a:p>
            <a:pPr>
              <a:defRPr/>
            </a:pPr>
            <a:r>
              <a:rPr lang="ru-RU" sz="1600" b="1" u="sng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ная </a:t>
            </a:r>
            <a:r>
              <a:rPr lang="ru-RU" sz="1600" b="1" u="sng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дача EDI </a:t>
            </a: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— заменить обмен информацией и документами, осуществляемый на бумажных носителях, стандартизированным электронным документооборотом между компьютерными сетями.</a:t>
            </a:r>
          </a:p>
        </p:txBody>
      </p:sp>
      <p:pic>
        <p:nvPicPr>
          <p:cNvPr id="9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5882" y="4117957"/>
            <a:ext cx="792088" cy="574245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 rot="10800000" flipV="1">
            <a:off x="213583" y="1740751"/>
            <a:ext cx="8830243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1600" b="1" u="sng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имущества  EDI :</a:t>
            </a:r>
          </a:p>
          <a:p>
            <a:pPr>
              <a:spcBef>
                <a:spcPts val="600"/>
              </a:spcBef>
              <a:defRPr/>
            </a:pPr>
            <a:r>
              <a:rPr lang="ru-RU" sz="1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Отсутствие </a:t>
            </a: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шибок ручного ввода </a:t>
            </a:r>
            <a:r>
              <a:rPr lang="ru-RU" sz="1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анных</a:t>
            </a:r>
          </a:p>
          <a:p>
            <a:pPr>
              <a:spcBef>
                <a:spcPts val="600"/>
              </a:spcBef>
              <a:defRPr/>
            </a:pPr>
            <a:r>
              <a:rPr lang="ru-RU" sz="1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Оптимизация </a:t>
            </a: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цесса приемки товара </a:t>
            </a:r>
            <a:endParaRPr lang="ru-RU" sz="1600" dirty="0" smtClean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600"/>
              </a:spcBef>
              <a:defRPr/>
            </a:pPr>
            <a:r>
              <a:rPr lang="ru-RU" sz="1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Получение </a:t>
            </a: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стоверной информации по </a:t>
            </a:r>
            <a:r>
              <a:rPr lang="ru-RU" sz="1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ценам</a:t>
            </a:r>
          </a:p>
          <a:p>
            <a:pPr>
              <a:spcBef>
                <a:spcPts val="600"/>
              </a:spcBef>
              <a:defRPr/>
            </a:pPr>
            <a:r>
              <a:rPr lang="ru-RU" sz="1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Гарантированное </a:t>
            </a: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лучение заказов</a:t>
            </a:r>
          </a:p>
          <a:p>
            <a:pPr>
              <a:spcBef>
                <a:spcPts val="600"/>
              </a:spcBef>
              <a:defRPr/>
            </a:pPr>
            <a:r>
              <a:rPr lang="ru-RU" sz="1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Сокращение </a:t>
            </a: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ременных затрат на </a:t>
            </a:r>
            <a:r>
              <a:rPr lang="ru-RU" sz="1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работку</a:t>
            </a:r>
          </a:p>
          <a:p>
            <a:pPr>
              <a:spcBef>
                <a:spcPts val="600"/>
              </a:spcBef>
              <a:defRPr/>
            </a:pP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кументов</a:t>
            </a:r>
          </a:p>
          <a:p>
            <a:pPr>
              <a:defRPr/>
            </a:pPr>
            <a:endParaRPr lang="ru-RU" dirty="0">
              <a:latin typeface="Arial"/>
              <a:cs typeface="Arial"/>
            </a:endParaRPr>
          </a:p>
          <a:p>
            <a:pPr>
              <a:defRPr/>
            </a:pPr>
            <a:endParaRPr lang="ru-RU" dirty="0">
              <a:latin typeface="Arial"/>
              <a:cs typeface="Arial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652119" y="1995686"/>
            <a:ext cx="26642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кращение финансовых издержек</a:t>
            </a:r>
          </a:p>
        </p:txBody>
      </p:sp>
      <p:sp>
        <p:nvSpPr>
          <p:cNvPr id="8" name="Прямоугольник 7"/>
          <p:cNvSpPr/>
          <p:nvPr/>
        </p:nvSpPr>
        <p:spPr>
          <a:xfrm rot="10800000" flipV="1">
            <a:off x="5796136" y="2787194"/>
            <a:ext cx="302433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кращение временных </a:t>
            </a:r>
            <a:endParaRPr lang="ru-RU" sz="1600" dirty="0" smtClean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трат</a:t>
            </a:r>
            <a:endParaRPr lang="ru-RU" sz="1600" dirty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Стрелка вправо с вырезом 17"/>
          <p:cNvSpPr/>
          <p:nvPr/>
        </p:nvSpPr>
        <p:spPr>
          <a:xfrm>
            <a:off x="4822088" y="2715765"/>
            <a:ext cx="686015" cy="504057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трелка вправо с вырезом 18"/>
          <p:cNvSpPr/>
          <p:nvPr/>
        </p:nvSpPr>
        <p:spPr>
          <a:xfrm>
            <a:off x="4788024" y="2067694"/>
            <a:ext cx="720079" cy="512767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" name="Picture 2" descr="9d797cbb-5d34-424e-9c56-c449da1f43c5@sberbank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54504" y="3963656"/>
            <a:ext cx="2088232" cy="100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9d797cbb-5d34-424e-9c56-c449da1f43c5@sberbank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635896" y="3795886"/>
            <a:ext cx="2928168" cy="1252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1043608" y="3864409"/>
            <a:ext cx="189291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b="1" dirty="0" smtClean="0">
              <a:solidFill>
                <a:schemeClr val="tx2"/>
              </a:solidFill>
            </a:endParaRPr>
          </a:p>
          <a:p>
            <a:endParaRPr lang="ru-RU" sz="1400" b="1" dirty="0" smtClean="0"/>
          </a:p>
          <a:p>
            <a:endParaRPr lang="ru-RU" sz="1400" b="1" dirty="0" smtClean="0"/>
          </a:p>
          <a:p>
            <a:r>
              <a:rPr lang="ru-RU" sz="1400" b="1" dirty="0" smtClean="0"/>
              <a:t>Отправитель</a:t>
            </a:r>
            <a:endParaRPr lang="ru-RU" sz="1400" b="1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4628705" y="4117366"/>
            <a:ext cx="15994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     </a:t>
            </a:r>
          </a:p>
          <a:p>
            <a:r>
              <a:rPr lang="ru-RU" sz="1400" b="1" dirty="0" smtClean="0"/>
              <a:t>Получатель</a:t>
            </a:r>
            <a:endParaRPr lang="ru-RU" sz="1400" b="1" dirty="0"/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786" y="8702"/>
            <a:ext cx="1785841" cy="460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177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7783926" y="1956415"/>
            <a:ext cx="771549" cy="14309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676426" y="4817393"/>
            <a:ext cx="2133600" cy="274637"/>
          </a:xfrm>
        </p:spPr>
        <p:txBody>
          <a:bodyPr/>
          <a:lstStyle/>
          <a:p>
            <a:fld id="{5B7E7DCD-C0EE-423A-BF93-9D3D62B97076}" type="slidenum">
              <a:rPr lang="ru-RU" b="1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</a:rPr>
              <a:pPr/>
              <a:t>8</a:t>
            </a:fld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Print" panose="02000600000000000000" pitchFamily="2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6669" y="4731990"/>
            <a:ext cx="207779" cy="342555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250825" y="123063"/>
            <a:ext cx="6472222" cy="648488"/>
          </a:xfrm>
        </p:spPr>
        <p:txBody>
          <a:bodyPr>
            <a:normAutofit/>
          </a:bodyPr>
          <a:lstStyle/>
          <a:p>
            <a:r>
              <a:rPr lang="en-GB" sz="20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kern="1200" dirty="0" err="1">
                <a:latin typeface="Calibri" panose="020F0502020204030204" pitchFamily="34" charset="0"/>
                <a:cs typeface="Calibri" panose="020F0502020204030204" pitchFamily="34" charset="0"/>
              </a:rPr>
              <a:t>Некредитные</a:t>
            </a:r>
            <a:r>
              <a:rPr lang="ru-RU" sz="1600" kern="1200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ru-RU" sz="1600" kern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дукты: </a:t>
            </a:r>
            <a:r>
              <a:rPr lang="en-GB" sz="1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invoicing </a:t>
            </a:r>
            <a:endParaRPr lang="ru-RU" sz="1600" dirty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107505" y="856260"/>
            <a:ext cx="8902248" cy="379217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 fontScale="70000" lnSpcReduction="2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4025" indent="-457200" algn="l">
              <a:spcBef>
                <a:spcPts val="600"/>
              </a:spcBef>
            </a:pPr>
            <a:r>
              <a:rPr lang="en-GB" sz="2000" b="1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invoicing</a:t>
            </a:r>
            <a:r>
              <a:rPr lang="en-GB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позволяет предельно минимизировать бумажный обмен первичными учетными                                        документами с контрагентами. </a:t>
            </a:r>
          </a:p>
          <a:p>
            <a:pPr marL="454025" indent="-457200" algn="l">
              <a:spcBef>
                <a:spcPts val="600"/>
              </a:spcBef>
            </a:pPr>
            <a:r>
              <a:rPr lang="ru-RU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Благодаря использованию Электронной Подписи, все передаваемые документы обретают юридическую силу и могут предъявляться в налоговую инспекцию или любое другое ведомство. </a:t>
            </a:r>
            <a:endParaRPr lang="ru-RU" sz="2000" dirty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4025" indent="-457200" algn="l">
              <a:spcBef>
                <a:spcPts val="600"/>
              </a:spcBef>
            </a:pPr>
            <a:r>
              <a:rPr lang="en-GB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invoicing</a:t>
            </a:r>
            <a:r>
              <a:rPr lang="ru-RU" sz="2000" b="1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</a:t>
            </a:r>
            <a:r>
              <a:rPr lang="en-GB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зволяет обмениваться электронными счетами-фактурами согласно регламенту, описанному в приказе Министерства Финансов №50-н. Это официально освобождает компании от использования бумажной формы данного документа.</a:t>
            </a:r>
          </a:p>
          <a:p>
            <a:pPr marL="454025" indent="-457200" algn="l">
              <a:spcBef>
                <a:spcPts val="600"/>
              </a:spcBef>
            </a:pPr>
            <a:r>
              <a:rPr lang="ru-RU" sz="2000" b="1" u="sng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реимущества:</a:t>
            </a:r>
          </a:p>
          <a:p>
            <a:pPr marL="454025" indent="-457200" algn="l">
              <a:spcBef>
                <a:spcPts val="600"/>
              </a:spcBef>
            </a:pPr>
            <a:r>
              <a:rPr lang="ru-RU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</a:t>
            </a:r>
          </a:p>
          <a:p>
            <a:pPr marL="454025" indent="-457200" algn="l">
              <a:spcBef>
                <a:spcPts val="600"/>
              </a:spcBef>
            </a:pPr>
            <a:r>
              <a:rPr lang="ru-RU" sz="20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Освобождает </a:t>
            </a:r>
            <a:r>
              <a:rPr lang="ru-RU" sz="20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 работы с бумажными </a:t>
            </a:r>
            <a:r>
              <a:rPr lang="ru-RU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кументами</a:t>
            </a:r>
          </a:p>
          <a:p>
            <a:pPr marL="454025" indent="-457200" algn="l">
              <a:spcBef>
                <a:spcPts val="600"/>
              </a:spcBef>
            </a:pPr>
            <a:r>
              <a:rPr lang="ru-RU" sz="20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Обеспечивает </a:t>
            </a:r>
            <a:r>
              <a:rPr lang="ru-RU" sz="20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юридическую значимость электронных документов</a:t>
            </a:r>
          </a:p>
          <a:p>
            <a:pPr marL="454025" indent="-457200" algn="l">
              <a:spcBef>
                <a:spcPts val="600"/>
              </a:spcBef>
            </a:pPr>
            <a:r>
              <a:rPr lang="ru-RU" sz="20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Формирование </a:t>
            </a:r>
            <a:r>
              <a:rPr lang="ru-RU" sz="20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отправка контрагентам электронных счётов-фактур непосредственно из </a:t>
            </a:r>
            <a:r>
              <a:rPr lang="ru-RU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тных систем</a:t>
            </a:r>
          </a:p>
          <a:p>
            <a:pPr marL="454025" indent="-457200" algn="l">
              <a:spcBef>
                <a:spcPts val="600"/>
              </a:spcBef>
            </a:pPr>
            <a:r>
              <a:rPr lang="ru-RU" sz="20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Сокращает </a:t>
            </a:r>
            <a:r>
              <a:rPr lang="ru-RU" sz="20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ямые издержки на бумажные документы</a:t>
            </a:r>
          </a:p>
          <a:p>
            <a:pPr marL="454025" indent="-457200" algn="l">
              <a:spcBef>
                <a:spcPts val="600"/>
              </a:spcBef>
            </a:pPr>
            <a:r>
              <a:rPr lang="ru-RU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Снимает </a:t>
            </a:r>
            <a:r>
              <a:rPr lang="ru-RU" sz="20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обходимость в бумажных </a:t>
            </a:r>
            <a:r>
              <a:rPr lang="ru-RU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рхивах</a:t>
            </a:r>
          </a:p>
          <a:p>
            <a:pPr marL="454025" indent="-457200" algn="l">
              <a:spcBef>
                <a:spcPts val="600"/>
              </a:spcBef>
            </a:pPr>
            <a:r>
              <a:rPr lang="ru-RU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Экономит </a:t>
            </a:r>
            <a:r>
              <a:rPr lang="ru-RU" sz="20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бочее </a:t>
            </a:r>
            <a:r>
              <a:rPr lang="ru-RU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ремя</a:t>
            </a:r>
            <a:r>
              <a:rPr lang="en-US" sz="20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                        </a:t>
            </a:r>
            <a:r>
              <a:rPr lang="en-US" sz="2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                        </a:t>
            </a:r>
            <a:r>
              <a:rPr lang="ru-RU" sz="1800" b="1" i="1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гновенная передача </a:t>
            </a:r>
            <a:r>
              <a:rPr lang="ru-RU" sz="1800" b="1" i="1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1800" b="1" i="1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ru-RU" sz="1800" b="1" i="1" dirty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4025" indent="-457200" algn="l">
              <a:spcBef>
                <a:spcPts val="600"/>
              </a:spcBef>
            </a:pPr>
            <a:endParaRPr lang="ru-RU" sz="1500" i="1" dirty="0">
              <a:solidFill>
                <a:schemeClr val="tx1"/>
              </a:solidFill>
            </a:endParaRPr>
          </a:p>
          <a:p>
            <a:pPr marL="454025" indent="-457200" algn="l">
              <a:spcBef>
                <a:spcPts val="600"/>
              </a:spcBef>
            </a:pPr>
            <a:endParaRPr lang="en-US" sz="1400" b="1" dirty="0" smtClean="0">
              <a:solidFill>
                <a:schemeClr val="tx1"/>
              </a:solidFill>
            </a:endParaRPr>
          </a:p>
        </p:txBody>
      </p:sp>
      <p:pic>
        <p:nvPicPr>
          <p:cNvPr id="11" name="Picture 6" descr="C:\Documents and Settings\poterjyr\Local Settings\Temporary Internet Files\Content.IE5\FZWE8LRH\j0431634[1]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841085" y="3519447"/>
            <a:ext cx="360460" cy="360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 descr="C:\Documents and Settings\poterjyr\Local Settings\Temporary Internet Files\Content.IE5\HB0IW5NC\j0432644[1]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024279" y="3664809"/>
            <a:ext cx="429959" cy="430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4" descr="C:\Documents and Settings\poterjyr\Local Settings\Temporary Internet Files\Content.IE5\QT0XPA87\j0431637[1]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022051" y="4506738"/>
            <a:ext cx="781320" cy="4055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" descr="C:\Documents and Settings\poterjyr\Local Settings\Temporary Internet Files\Content.IE5\QT0XPA87\j0431637[1]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274885" y="4209083"/>
            <a:ext cx="701606" cy="701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AutoShape 20"/>
          <p:cNvSpPr>
            <a:spLocks noChangeArrowheads="1"/>
          </p:cNvSpPr>
          <p:nvPr/>
        </p:nvSpPr>
        <p:spPr bwMode="auto">
          <a:xfrm>
            <a:off x="4803371" y="4500201"/>
            <a:ext cx="2435888" cy="296467"/>
          </a:xfrm>
          <a:prstGeom prst="rightArrow">
            <a:avLst>
              <a:gd name="adj1" fmla="val 70519"/>
              <a:gd name="adj2" fmla="val 43080"/>
            </a:avLst>
          </a:prstGeom>
          <a:solidFill>
            <a:srgbClr val="439639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 sz="1200"/>
          </a:p>
        </p:txBody>
      </p:sp>
      <p:pic>
        <p:nvPicPr>
          <p:cNvPr id="17" name="Picture 11" descr="C:\Documents and Settings\poterjyr\Local Settings\Temporary Internet Files\Content.IE5\AFK8VWTY\j0433892[1].png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436096" y="4095006"/>
            <a:ext cx="864096" cy="862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9" descr="C:\Documents and Settings\poterjyr\Local Settings\Temporary Internet Files\Content.IE5\AFK8VWTY\j0432627[1]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516216" y="3516172"/>
            <a:ext cx="413661" cy="413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5" descr="C:\Documents and Settings\poterjyr\Local Settings\Temporary Internet Files\Content.IE5\CFHCSV9I\j0431635[1]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932040" y="3664809"/>
            <a:ext cx="418820" cy="4186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912" y="195902"/>
            <a:ext cx="1785841" cy="460862"/>
          </a:xfrm>
          <a:prstGeom prst="rect">
            <a:avLst/>
          </a:prstGeom>
        </p:spPr>
      </p:pic>
      <p:pic>
        <p:nvPicPr>
          <p:cNvPr id="22" name="Picture 17" descr="GArrow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385" y="2829052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17" descr="GArrow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078" y="3085105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319" y="3338164"/>
            <a:ext cx="225425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17" descr="GArrow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745" y="3561285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17" descr="GArrow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144" y="3765607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17" descr="GArrow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570" y="4027475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1140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4"/>
          <p:cNvSpPr txBox="1">
            <a:spLocks/>
          </p:cNvSpPr>
          <p:nvPr/>
        </p:nvSpPr>
        <p:spPr>
          <a:xfrm>
            <a:off x="107505" y="843558"/>
            <a:ext cx="8902248" cy="184700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 fontScale="25000" lnSpcReduction="2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ct val="50000"/>
              </a:spcBef>
            </a:pPr>
            <a:r>
              <a:rPr lang="ru-RU" sz="5600" b="1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Зарплатный </a:t>
            </a:r>
            <a:r>
              <a:rPr lang="ru-RU" sz="5600" b="1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ект </a:t>
            </a:r>
            <a:r>
              <a:rPr lang="ru-RU" sz="5600" b="1" dirty="0">
                <a:solidFill>
                  <a:srgbClr val="008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ru-RU" sz="5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о услуга Банка по организации выплаты денежных средств на счета банковских карт при наличии договора между Предприятием и Организацией.</a:t>
            </a:r>
          </a:p>
          <a:p>
            <a:pPr algn="l">
              <a:spcBef>
                <a:spcPct val="50000"/>
              </a:spcBef>
            </a:pPr>
            <a:r>
              <a:rPr lang="ru-RU" sz="5600" b="1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</a:t>
            </a:r>
            <a:r>
              <a:rPr lang="ru-RU" sz="5600" b="1" u="sng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имущества</a:t>
            </a:r>
            <a:r>
              <a:rPr lang="ru-RU" sz="5600" b="1" u="sng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algn="l">
              <a:spcBef>
                <a:spcPct val="50000"/>
              </a:spcBef>
            </a:pP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Снижение </a:t>
            </a:r>
            <a:r>
              <a:rPr lang="ru-RU" sz="5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ходов на инкассацию и оплату труда кассовых работников</a:t>
            </a:r>
          </a:p>
          <a:p>
            <a:pPr algn="l">
              <a:spcBef>
                <a:spcPct val="50000"/>
              </a:spcBef>
            </a:pP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Исключение </a:t>
            </a:r>
            <a:r>
              <a:rPr lang="ru-RU" sz="5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исков при работе с наличными деньгами</a:t>
            </a:r>
          </a:p>
          <a:p>
            <a:pPr algn="l">
              <a:spcBef>
                <a:spcPct val="50000"/>
              </a:spcBef>
            </a:pP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Отсутствие </a:t>
            </a:r>
            <a:r>
              <a:rPr lang="ru-RU" sz="5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обходимости депонирования средств</a:t>
            </a:r>
          </a:p>
          <a:p>
            <a:pPr algn="l">
              <a:spcBef>
                <a:spcPct val="50000"/>
              </a:spcBef>
            </a:pP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Эффективное </a:t>
            </a:r>
            <a:r>
              <a:rPr lang="ru-RU" sz="5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пользование трудовых ресурсов </a:t>
            </a: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не тратят рабочее</a:t>
            </a:r>
            <a:r>
              <a:rPr lang="en-US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ремя на получение денег</a:t>
            </a:r>
            <a:r>
              <a:rPr lang="en-US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кассе)</a:t>
            </a:r>
            <a:endParaRPr lang="en-US" sz="5600" dirty="0" smtClean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spcBef>
                <a:spcPct val="50000"/>
              </a:spcBef>
            </a:pPr>
            <a:r>
              <a:rPr lang="en-US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  </a:t>
            </a: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ьготные </a:t>
            </a:r>
            <a:r>
              <a:rPr lang="ru-RU" sz="5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словия </a:t>
            </a: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 </a:t>
            </a:r>
            <a:r>
              <a:rPr lang="ru-RU" sz="56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граммам </a:t>
            </a:r>
            <a:r>
              <a:rPr lang="ru-RU" sz="5600" dirty="0" smtClean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редитования сотрудников компании</a:t>
            </a:r>
            <a:endParaRPr lang="ru-RU" sz="5600" dirty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spcBef>
                <a:spcPct val="50000"/>
              </a:spcBef>
            </a:pPr>
            <a:endParaRPr lang="en-US" sz="5600" dirty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spcBef>
                <a:spcPct val="50000"/>
              </a:spcBef>
            </a:pPr>
            <a:endParaRPr lang="en-US" sz="5600" dirty="0" smtClean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spcBef>
                <a:spcPct val="50000"/>
              </a:spcBef>
            </a:pPr>
            <a:endParaRPr lang="en-US" sz="5600" dirty="0" smtClean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spcBef>
                <a:spcPct val="50000"/>
              </a:spcBef>
            </a:pPr>
            <a:endParaRPr lang="en-US" sz="5600" b="1" dirty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>
              <a:spcBef>
                <a:spcPct val="50000"/>
              </a:spcBef>
            </a:pPr>
            <a:endParaRPr lang="en-US" sz="1400" b="1" dirty="0" smtClean="0">
              <a:solidFill>
                <a:schemeClr val="tx1"/>
              </a:solidFill>
            </a:endParaRPr>
          </a:p>
        </p:txBody>
      </p:sp>
      <p:pic>
        <p:nvPicPr>
          <p:cNvPr id="13" name="Picture 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5827243" y="3120623"/>
            <a:ext cx="771549" cy="14309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676426" y="4817393"/>
            <a:ext cx="2133600" cy="274637"/>
          </a:xfrm>
        </p:spPr>
        <p:txBody>
          <a:bodyPr/>
          <a:lstStyle/>
          <a:p>
            <a:fld id="{5B7E7DCD-C0EE-423A-BF93-9D3D62B97076}" type="slidenum">
              <a:rPr lang="ru-RU" b="1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Print" panose="02000600000000000000" pitchFamily="2" charset="0"/>
              </a:rPr>
              <a:pPr/>
              <a:t>9</a:t>
            </a:fld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Print" panose="02000600000000000000" pitchFamily="2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6669" y="4731990"/>
            <a:ext cx="207779" cy="342555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250825" y="123063"/>
            <a:ext cx="6472222" cy="648488"/>
          </a:xfrm>
        </p:spPr>
        <p:txBody>
          <a:bodyPr>
            <a:normAutofit/>
          </a:bodyPr>
          <a:lstStyle/>
          <a:p>
            <a:r>
              <a:rPr lang="en-GB" sz="20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kern="1200" dirty="0" err="1">
                <a:latin typeface="Calibri" panose="020F0502020204030204" pitchFamily="34" charset="0"/>
                <a:cs typeface="Calibri" panose="020F0502020204030204" pitchFamily="34" charset="0"/>
              </a:rPr>
              <a:t>Некредитные</a:t>
            </a:r>
            <a:r>
              <a:rPr lang="ru-RU" sz="1600" kern="1200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ru-RU" sz="1600" kern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дукты: </a:t>
            </a:r>
            <a:r>
              <a:rPr lang="ru-RU" sz="1600" kern="1200" dirty="0">
                <a:latin typeface="Calibri" panose="020F0502020204030204" pitchFamily="34" charset="0"/>
                <a:cs typeface="Calibri" panose="020F0502020204030204" pitchFamily="34" charset="0"/>
              </a:rPr>
              <a:t>Зарплатный проект Сбербанка России ОАО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3912" y="195902"/>
            <a:ext cx="1785841" cy="460862"/>
          </a:xfrm>
          <a:prstGeom prst="rect">
            <a:avLst/>
          </a:prstGeom>
        </p:spPr>
      </p:pic>
      <p:sp>
        <p:nvSpPr>
          <p:cNvPr id="21" name="Content Placeholder 4"/>
          <p:cNvSpPr txBox="1">
            <a:spLocks/>
          </p:cNvSpPr>
          <p:nvPr/>
        </p:nvSpPr>
        <p:spPr>
          <a:xfrm>
            <a:off x="225612" y="3219822"/>
            <a:ext cx="8902248" cy="161229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4025" indent="-457200" algn="l">
              <a:spcBef>
                <a:spcPts val="600"/>
              </a:spcBef>
            </a:pPr>
            <a:endParaRPr lang="en-US" sz="1400" b="1" dirty="0" smtClean="0">
              <a:solidFill>
                <a:schemeClr val="tx1"/>
              </a:solidFill>
            </a:endParaRPr>
          </a:p>
        </p:txBody>
      </p:sp>
      <p:sp>
        <p:nvSpPr>
          <p:cNvPr id="22" name="Овал 21"/>
          <p:cNvSpPr/>
          <p:nvPr/>
        </p:nvSpPr>
        <p:spPr bwMode="auto">
          <a:xfrm>
            <a:off x="250825" y="843558"/>
            <a:ext cx="215665" cy="207628"/>
          </a:xfrm>
          <a:prstGeom prst="ellipse">
            <a:avLst/>
          </a:prstGeom>
          <a:gradFill rotWithShape="0">
            <a:gsLst>
              <a:gs pos="0">
                <a:schemeClr val="accent1"/>
              </a:gs>
              <a:gs pos="100000">
                <a:srgbClr val="00870F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0" tIns="0" rIns="0" bIns="0"/>
          <a:lstStyle>
            <a:lvl1pPr defTabSz="8588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98500" indent="-268288" defTabSz="8588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073150" indent="-214313" defTabSz="8588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03363" indent="-214313" defTabSz="8588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33575" indent="-215900" defTabSz="8588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90775" indent="-215900" defTabSz="8588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47975" indent="-215900" defTabSz="8588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305175" indent="-215900" defTabSz="8588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62375" indent="-215900" defTabSz="8588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0" hangingPunct="0">
              <a:lnSpc>
                <a:spcPct val="90000"/>
              </a:lnSpc>
            </a:pPr>
            <a:endParaRPr lang="ru-RU" sz="1100" b="0">
              <a:solidFill>
                <a:schemeClr val="bg1"/>
              </a:solidFill>
            </a:endParaRPr>
          </a:p>
        </p:txBody>
      </p:sp>
      <p:pic>
        <p:nvPicPr>
          <p:cNvPr id="23" name="Picture 17" descr="GArrow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890" y="1594240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17" descr="GArrow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894024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17" descr="GArrow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958" y="2178244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17" descr="GArrow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935" y="2461963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4" descr="image66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5" y="1131590"/>
            <a:ext cx="1537122" cy="1330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</a:extLst>
        </p:spPr>
      </p:pic>
      <p:pic>
        <p:nvPicPr>
          <p:cNvPr id="28" name="Picture 80" descr="GArrow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320" y="3618172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81" descr="GArrow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680" y="4090053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82" descr="GArrow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465" y="4423495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83" descr="GArrow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935" y="4849408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ext Box 87"/>
          <p:cNvSpPr txBox="1">
            <a:spLocks noChangeArrowheads="1"/>
          </p:cNvSpPr>
          <p:nvPr/>
        </p:nvSpPr>
        <p:spPr bwMode="auto">
          <a:xfrm>
            <a:off x="439248" y="3108280"/>
            <a:ext cx="8589088" cy="19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b="1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рплатные карты </a:t>
            </a:r>
            <a:r>
              <a:rPr lang="ru-RU" sz="1200" b="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</a:t>
            </a:r>
            <a:r>
              <a:rPr lang="ru-RU" sz="12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о карты международных платежных систем </a:t>
            </a:r>
            <a:r>
              <a:rPr lang="en-US" sz="1200" b="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sa </a:t>
            </a:r>
            <a:r>
              <a:rPr lang="ru-RU" sz="1200" b="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en-US" sz="1200" b="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sterCard</a:t>
            </a:r>
            <a:r>
              <a:rPr lang="ru-RU" sz="1200" b="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выпущенные на условиях заключенного с Банком договора.</a:t>
            </a:r>
          </a:p>
          <a:p>
            <a:pPr>
              <a:spcBef>
                <a:spcPct val="50000"/>
              </a:spcBef>
            </a:pPr>
            <a:r>
              <a:rPr lang="ru-RU" sz="1200" b="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рамках договора могут выпускаться карты как одного, так и разных видов, при условии установления </a:t>
            </a:r>
            <a:r>
              <a:rPr lang="ru-RU" sz="12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диного тарифа</a:t>
            </a:r>
            <a:r>
              <a:rPr lang="ru-RU" sz="1200" b="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за зачисление по всем видам карт.</a:t>
            </a:r>
          </a:p>
          <a:p>
            <a:pPr>
              <a:spcBef>
                <a:spcPct val="50000"/>
              </a:spcBef>
            </a:pPr>
            <a:r>
              <a:rPr lang="ru-RU" sz="1200" b="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ок действия зарплатных карт – 3 года</a:t>
            </a:r>
          </a:p>
          <a:p>
            <a:pPr>
              <a:spcBef>
                <a:spcPct val="50000"/>
              </a:spcBef>
            </a:pPr>
            <a:r>
              <a:rPr lang="ru-RU" sz="1200" b="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чета карт открываются в рублях РФ. Предприятия обладающие правом на осуществление выплат в иностранной валюте, могут открывать счета карт для своих сотрудников в долларах США или ЕВРО.</a:t>
            </a:r>
          </a:p>
          <a:p>
            <a:pPr>
              <a:spcBef>
                <a:spcPct val="50000"/>
              </a:spcBef>
            </a:pPr>
            <a:r>
              <a:rPr lang="en-US" sz="12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ажно! </a:t>
            </a:r>
            <a:r>
              <a:rPr lang="ru-RU" sz="1200" b="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личие зарплатной карты от личной – возможность выпуска карты на льготных условиях.</a:t>
            </a:r>
            <a:r>
              <a:rPr lang="en-US" sz="12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dirty="0">
                <a:solidFill>
                  <a:srgbClr val="00703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ru-RU" sz="1200" b="0" dirty="0">
              <a:solidFill>
                <a:srgbClr val="00703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" name="Овал 32"/>
          <p:cNvSpPr/>
          <p:nvPr/>
        </p:nvSpPr>
        <p:spPr bwMode="auto">
          <a:xfrm>
            <a:off x="225612" y="3144056"/>
            <a:ext cx="215665" cy="207628"/>
          </a:xfrm>
          <a:prstGeom prst="ellipse">
            <a:avLst/>
          </a:prstGeom>
          <a:gradFill rotWithShape="0">
            <a:gsLst>
              <a:gs pos="0">
                <a:schemeClr val="accent1"/>
              </a:gs>
              <a:gs pos="100000">
                <a:srgbClr val="00870F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0" tIns="0" rIns="0" bIns="0"/>
          <a:lstStyle>
            <a:lvl1pPr defTabSz="8588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98500" indent="-268288" defTabSz="8588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073150" indent="-214313" defTabSz="8588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03363" indent="-214313" defTabSz="8588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933575" indent="-215900" defTabSz="85883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390775" indent="-215900" defTabSz="8588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847975" indent="-215900" defTabSz="8588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305175" indent="-215900" defTabSz="8588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762375" indent="-215900" defTabSz="8588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0" hangingPunct="0">
              <a:lnSpc>
                <a:spcPct val="90000"/>
              </a:lnSpc>
            </a:pPr>
            <a:endParaRPr lang="ru-RU" sz="1100" b="0">
              <a:solidFill>
                <a:schemeClr val="bg1"/>
              </a:solidFill>
            </a:endParaRPr>
          </a:p>
        </p:txBody>
      </p:sp>
      <p:pic>
        <p:nvPicPr>
          <p:cNvPr id="34" name="Picture 17" descr="GArrow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043" y="2717720"/>
            <a:ext cx="228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1562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Z9TgD7UyfBP8ufJbCJ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dolnKYiEyCRiCSfECF_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q7IBBcdkmIKSYci1cx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lank">
  <a:themeElements>
    <a:clrScheme name="1_blank 12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536"/>
      </a:folHlink>
    </a:clrScheme>
    <a:fontScheme name="1_blank">
      <a:majorFont>
        <a:latin typeface="Tahom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1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08A5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1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5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847</TotalTime>
  <Words>1247</Words>
  <Application>Microsoft Office PowerPoint</Application>
  <PresentationFormat>Экран (16:9)</PresentationFormat>
  <Paragraphs>203</Paragraphs>
  <Slides>11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1</vt:i4>
      </vt:variant>
    </vt:vector>
  </HeadingPairs>
  <TitlesOfParts>
    <vt:vector size="16" baseType="lpstr">
      <vt:lpstr>Специальное оформление</vt:lpstr>
      <vt:lpstr>1_Специальное оформление</vt:lpstr>
      <vt:lpstr>1_blank</vt:lpstr>
      <vt:lpstr>think-cell Slide</vt:lpstr>
      <vt:lpstr>Фотография Photo Editor</vt:lpstr>
      <vt:lpstr>Семинар: « Простые решения для малого бизнеса»  Основные аспекты и нововведения  в  условия работы клиентов малого бизнеса со  Сбербанком  России</vt:lpstr>
      <vt:lpstr>Презентация PowerPoint</vt:lpstr>
      <vt:lpstr>Презентация PowerPoint</vt:lpstr>
      <vt:lpstr>Презентация PowerPoint</vt:lpstr>
      <vt:lpstr>Презентация PowerPoint</vt:lpstr>
      <vt:lpstr> Некредитные  продукты: СФЕРА Отчетность</vt:lpstr>
      <vt:lpstr>Некредитные  продукты: EDI – электронный обмен данными между партнерами</vt:lpstr>
      <vt:lpstr> Некредитные  продукты: E-invoicing </vt:lpstr>
      <vt:lpstr> Некредитные  продукты: Зарплатный проект Сбербанка России ОАО</vt:lpstr>
      <vt:lpstr> Некредитные  продукты: Торговый эквайринг</vt:lpstr>
      <vt:lpstr>Презентация PowerPoint</vt:lpstr>
    </vt:vector>
  </TitlesOfParts>
  <Company>Сбербанк России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rr rrrr</dc:title>
  <dc:creator>Филиппов Дмитрий Евгеньевич</dc:creator>
  <cp:lastModifiedBy>Старков Артем Александрович</cp:lastModifiedBy>
  <cp:revision>410</cp:revision>
  <cp:lastPrinted>2014-06-27T07:15:43Z</cp:lastPrinted>
  <dcterms:created xsi:type="dcterms:W3CDTF">2014-02-21T05:12:29Z</dcterms:created>
  <dcterms:modified xsi:type="dcterms:W3CDTF">2014-07-30T05:35:50Z</dcterms:modified>
</cp:coreProperties>
</file>